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notesSlides/notesSlide1.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3.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4.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9"/>
  </p:notesMasterIdLst>
  <p:handoutMasterIdLst>
    <p:handoutMasterId r:id="rId10"/>
  </p:handoutMasterIdLst>
  <p:sldIdLst>
    <p:sldId id="341" r:id="rId2"/>
    <p:sldId id="347" r:id="rId3"/>
    <p:sldId id="349" r:id="rId4"/>
    <p:sldId id="377" r:id="rId5"/>
    <p:sldId id="378" r:id="rId6"/>
    <p:sldId id="379" r:id="rId7"/>
    <p:sldId id="376" r:id="rId8"/>
  </p:sldIdLst>
  <p:sldSz cx="9906000" cy="6858000" type="A4"/>
  <p:notesSz cx="6735763" cy="9866313"/>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3F9FF"/>
    <a:srgbClr val="0883C0"/>
    <a:srgbClr val="4C71A0"/>
    <a:srgbClr val="192A58"/>
    <a:srgbClr val="131F42"/>
    <a:srgbClr val="F2F2F2"/>
    <a:srgbClr val="A9B8B1"/>
    <a:srgbClr val="83A5AF"/>
    <a:srgbClr val="A0AE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172" autoAdjust="0"/>
    <p:restoredTop sz="74568" autoAdjust="0"/>
  </p:normalViewPr>
  <p:slideViewPr>
    <p:cSldViewPr snapToGrid="0">
      <p:cViewPr varScale="1">
        <p:scale>
          <a:sx n="104" d="100"/>
          <a:sy n="104" d="100"/>
        </p:scale>
        <p:origin x="1896" y="208"/>
      </p:cViewPr>
      <p:guideLst>
        <p:guide orient="horz" pos="2160"/>
        <p:guide pos="312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8" d="100"/>
          <a:sy n="88" d="100"/>
        </p:scale>
        <p:origin x="3156" y="72"/>
      </p:cViewPr>
      <p:guideLst/>
    </p:cSldViewPr>
  </p:notesViewPr>
  <p:gridSpacing cx="38100" cy="38100"/>
</p:viewPr>
</file>

<file path=ppt/_rels/presentation.xml.rels><?xml version="1.0" encoding="UTF-8" standalone="yes"?>
<Relationships xmlns="http://schemas.openxmlformats.org/package/2006/relationships"><Relationship Id="rId11" Type="http://schemas.openxmlformats.org/officeDocument/2006/relationships/tags" Target="tags/tag1.xml"/><Relationship Id="rId12" Type="http://schemas.openxmlformats.org/officeDocument/2006/relationships/presProps" Target="presProps.xml"/><Relationship Id="rId13" Type="http://schemas.openxmlformats.org/officeDocument/2006/relationships/viewProps" Target="viewProps.xml"/><Relationship Id="rId14" Type="http://schemas.openxmlformats.org/officeDocument/2006/relationships/theme" Target="theme/theme1.xml"/><Relationship Id="rId15"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notesMaster" Target="notesMasters/notesMaster1.xml"/><Relationship Id="rId1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2918830" cy="495029"/>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815377" y="3"/>
            <a:ext cx="2918830" cy="495029"/>
          </a:xfrm>
          <a:prstGeom prst="rect">
            <a:avLst/>
          </a:prstGeom>
        </p:spPr>
        <p:txBody>
          <a:bodyPr vert="horz" lIns="92492" tIns="46246" rIns="92492" bIns="46246" rtlCol="0"/>
          <a:lstStyle>
            <a:lvl1pPr algn="r">
              <a:defRPr sz="1200"/>
            </a:lvl1pPr>
          </a:lstStyle>
          <a:p>
            <a:fld id="{57691E93-EF64-46CC-85E2-BBB5BEDB9501}" type="datetimeFigureOut">
              <a:rPr lang="en-US" sz="800"/>
              <a:t>1/4/20</a:t>
            </a:fld>
            <a:endParaRPr lang="en-US" sz="800" dirty="0"/>
          </a:p>
        </p:txBody>
      </p:sp>
      <p:sp>
        <p:nvSpPr>
          <p:cNvPr id="4" name="Footer Placeholder 3"/>
          <p:cNvSpPr>
            <a:spLocks noGrp="1"/>
          </p:cNvSpPr>
          <p:nvPr>
            <p:ph type="ftr" sz="quarter" idx="2"/>
          </p:nvPr>
        </p:nvSpPr>
        <p:spPr>
          <a:xfrm>
            <a:off x="3" y="9371289"/>
            <a:ext cx="2918830" cy="495028"/>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15377" y="9371289"/>
            <a:ext cx="2918830" cy="495028"/>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711545"/>
            <a:ext cx="6734205" cy="51547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79885" y="3"/>
            <a:ext cx="2838947" cy="495029"/>
          </a:xfrm>
          <a:prstGeom prst="rect">
            <a:avLst/>
          </a:prstGeom>
        </p:spPr>
        <p:txBody>
          <a:bodyPr vert="horz" lIns="92492" tIns="46246" rIns="92492" bIns="46246" rtlCol="0"/>
          <a:lstStyle>
            <a:lvl1pPr>
              <a:defRPr lang="en-US" sz="1400" dirty="0"/>
            </a:lvl1pPr>
          </a:lstStyle>
          <a:p>
            <a:endParaRPr lang="en-US"/>
          </a:p>
        </p:txBody>
      </p:sp>
      <p:sp>
        <p:nvSpPr>
          <p:cNvPr id="3" name="Date Placeholder 2"/>
          <p:cNvSpPr>
            <a:spLocks noGrp="1"/>
          </p:cNvSpPr>
          <p:nvPr>
            <p:ph type="dt" idx="1"/>
          </p:nvPr>
        </p:nvSpPr>
        <p:spPr>
          <a:xfrm>
            <a:off x="3815376" y="152"/>
            <a:ext cx="2840504" cy="495029"/>
          </a:xfrm>
          <a:prstGeom prst="rect">
            <a:avLst/>
          </a:prstGeom>
        </p:spPr>
        <p:txBody>
          <a:bodyPr vert="horz" lIns="91440" tIns="45720" rIns="91440" bIns="45720" rtlCol="0"/>
          <a:lstStyle>
            <a:lvl1pPr>
              <a:defRPr lang="en-US" sz="1200" smtClean="0"/>
            </a:lvl1pPr>
          </a:lstStyle>
          <a:p>
            <a:pPr algn="r"/>
            <a:fld id="{3AD9BDA7-98EF-4344-B91C-30A07E8A84B0}" type="datetimeFigureOut">
              <a:rPr lang="en-US" smtClean="0"/>
              <a:pPr algn="r"/>
              <a:t>1/4/20</a:t>
            </a:fld>
            <a:endParaRPr lang="en-US" dirty="0"/>
          </a:p>
        </p:txBody>
      </p:sp>
      <p:sp>
        <p:nvSpPr>
          <p:cNvPr id="13" name="Footer Placeholder 5"/>
          <p:cNvSpPr>
            <a:spLocks noGrp="1"/>
          </p:cNvSpPr>
          <p:nvPr>
            <p:ph type="ftr" sz="quarter" idx="4"/>
          </p:nvPr>
        </p:nvSpPr>
        <p:spPr>
          <a:xfrm>
            <a:off x="79885" y="9340764"/>
            <a:ext cx="2838947" cy="495028"/>
          </a:xfrm>
          <a:prstGeom prst="rect">
            <a:avLst/>
          </a:prstGeom>
        </p:spPr>
        <p:txBody>
          <a:bodyPr vert="horz" lIns="92492" tIns="46246" rIns="92492" bIns="46246" rtlCol="0" anchor="b"/>
          <a:lstStyle>
            <a:lvl1pPr algn="l">
              <a:defRPr sz="1400"/>
            </a:lvl1pPr>
          </a:lstStyle>
          <a:p>
            <a:endParaRPr lang="en-US" dirty="0"/>
          </a:p>
        </p:txBody>
      </p:sp>
      <p:sp>
        <p:nvSpPr>
          <p:cNvPr id="14" name="Slide Number Placeholder 6"/>
          <p:cNvSpPr>
            <a:spLocks noGrp="1"/>
          </p:cNvSpPr>
          <p:nvPr>
            <p:ph type="sldNum" sz="quarter" idx="5"/>
          </p:nvPr>
        </p:nvSpPr>
        <p:spPr>
          <a:xfrm>
            <a:off x="3815377" y="9340764"/>
            <a:ext cx="2829917" cy="495028"/>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15" name="Notes Placeholder 4"/>
          <p:cNvSpPr>
            <a:spLocks noGrp="1"/>
          </p:cNvSpPr>
          <p:nvPr>
            <p:ph type="body" sz="quarter" idx="3"/>
          </p:nvPr>
        </p:nvSpPr>
        <p:spPr>
          <a:xfrm>
            <a:off x="251517" y="5036365"/>
            <a:ext cx="6215660" cy="402612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Image Placeholder 4"/>
          <p:cNvSpPr>
            <a:spLocks noGrp="1" noRot="1" noChangeAspect="1"/>
          </p:cNvSpPr>
          <p:nvPr>
            <p:ph type="sldImg" idx="2"/>
          </p:nvPr>
        </p:nvSpPr>
        <p:spPr>
          <a:xfrm>
            <a:off x="506413" y="614363"/>
            <a:ext cx="5721350" cy="3962400"/>
          </a:xfrm>
          <a:prstGeom prst="rect">
            <a:avLst/>
          </a:prstGeom>
          <a:noFill/>
          <a:ln w="9525">
            <a:solidFill>
              <a:schemeClr val="bg2"/>
            </a:solidFill>
          </a:ln>
        </p:spPr>
        <p:txBody>
          <a:bodyPr vert="horz" lIns="92492" tIns="46246" rIns="92492" bIns="46246" rtlCol="0" anchor="ctr"/>
          <a:lstStyle/>
          <a:p>
            <a:pPr lvl="0"/>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lang="en-US"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614363"/>
            <a:ext cx="5721350" cy="39624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156307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614363"/>
            <a:ext cx="5721350" cy="39624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875140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614363"/>
            <a:ext cx="5721350" cy="39624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497593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614363"/>
            <a:ext cx="5721350" cy="39624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174214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614363"/>
            <a:ext cx="5721350" cy="39624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879280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614363"/>
            <a:ext cx="5721350" cy="39624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29155807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tags" Target="../tags/tag6.xml"/><Relationship Id="rId6" Type="http://schemas.openxmlformats.org/officeDocument/2006/relationships/slideMaster" Target="../slideMasters/slideMaster1.xml"/><Relationship Id="rId7" Type="http://schemas.openxmlformats.org/officeDocument/2006/relationships/oleObject" Target="../embeddings/oleObject2.bin"/><Relationship Id="rId8" Type="http://schemas.openxmlformats.org/officeDocument/2006/relationships/image" Target="../media/image2.emf"/><Relationship Id="rId9" Type="http://schemas.openxmlformats.org/officeDocument/2006/relationships/image" Target="../media/image3.png"/><Relationship Id="rId10" Type="http://schemas.openxmlformats.org/officeDocument/2006/relationships/image" Target="../media/image4.jp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tags" Target="../tags/tag32.xml"/><Relationship Id="rId5" Type="http://schemas.openxmlformats.org/officeDocument/2006/relationships/slideMaster" Target="../slideMasters/slideMaster1.xml"/><Relationship Id="rId6" Type="http://schemas.openxmlformats.org/officeDocument/2006/relationships/oleObject" Target="../embeddings/oleObject3.bin"/><Relationship Id="rId7" Type="http://schemas.openxmlformats.org/officeDocument/2006/relationships/image" Target="../media/image2.emf"/><Relationship Id="rId8" Type="http://schemas.openxmlformats.org/officeDocument/2006/relationships/image" Target="../media/image4.jpg"/><Relationship Id="rId1" Type="http://schemas.openxmlformats.org/officeDocument/2006/relationships/vmlDrawing" Target="../drawings/vmlDrawing3.vml"/><Relationship Id="rId2"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2.emf"/><Relationship Id="rId9" Type="http://schemas.openxmlformats.org/officeDocument/2006/relationships/image" Target="../media/image3.png"/><Relationship Id="rId10" Type="http://schemas.openxmlformats.org/officeDocument/2006/relationships/image" Target="../media/image4.jpg"/><Relationship Id="rId1" Type="http://schemas.openxmlformats.org/officeDocument/2006/relationships/vmlDrawing" Target="../drawings/vmlDrawing4.vml"/><Relationship Id="rId2" Type="http://schemas.openxmlformats.org/officeDocument/2006/relationships/tags" Target="../tags/tag34.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1.xml"/><Relationship Id="rId3"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53.xml"/><Relationship Id="rId4" Type="http://schemas.openxmlformats.org/officeDocument/2006/relationships/slideMaster" Target="../slideMasters/slideMaster1.xml"/><Relationship Id="rId5" Type="http://schemas.openxmlformats.org/officeDocument/2006/relationships/oleObject" Target="../embeddings/oleObject5.bin"/><Relationship Id="rId6" Type="http://schemas.openxmlformats.org/officeDocument/2006/relationships/image" Target="../media/image1.emf"/><Relationship Id="rId7" Type="http://schemas.openxmlformats.org/officeDocument/2006/relationships/image" Target="../media/image5.png"/><Relationship Id="rId1" Type="http://schemas.openxmlformats.org/officeDocument/2006/relationships/vmlDrawing" Target="../drawings/vmlDrawing5.vml"/><Relationship Id="rId2" Type="http://schemas.openxmlformats.org/officeDocument/2006/relationships/tags" Target="../tags/tag52.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4.jpg"/><Relationship Id="rId1" Type="http://schemas.openxmlformats.org/officeDocument/2006/relationships/tags" Target="../tags/tag64.xml"/><Relationship Id="rId2" Type="http://schemas.openxmlformats.org/officeDocument/2006/relationships/tags" Target="../tags/tag65.xml"/></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8.xml"/><Relationship Id="rId4" Type="http://schemas.openxmlformats.org/officeDocument/2006/relationships/tags" Target="../tags/tag69.xml"/><Relationship Id="rId5" Type="http://schemas.openxmlformats.org/officeDocument/2006/relationships/tags" Target="../tags/tag70.xml"/><Relationship Id="rId6" Type="http://schemas.openxmlformats.org/officeDocument/2006/relationships/tags" Target="../tags/tag71.xml"/><Relationship Id="rId7" Type="http://schemas.openxmlformats.org/officeDocument/2006/relationships/slideMaster" Target="../slideMasters/slideMaster1.xml"/><Relationship Id="rId8" Type="http://schemas.openxmlformats.org/officeDocument/2006/relationships/oleObject" Target="../embeddings/oleObject6.bin"/><Relationship Id="rId9"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6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tags" Target="../tags/tag75.xml"/><Relationship Id="rId6" Type="http://schemas.openxmlformats.org/officeDocument/2006/relationships/slideMaster" Target="../slideMasters/slideMaster1.xml"/><Relationship Id="rId7" Type="http://schemas.openxmlformats.org/officeDocument/2006/relationships/oleObject" Target="../embeddings/oleObject7.bin"/><Relationship Id="rId8" Type="http://schemas.openxmlformats.org/officeDocument/2006/relationships/image" Target="../media/image1.emf"/><Relationship Id="rId1" Type="http://schemas.openxmlformats.org/officeDocument/2006/relationships/vmlDrawing" Target="../drawings/vmlDrawing7.vml"/><Relationship Id="rId2" Type="http://schemas.openxmlformats.org/officeDocument/2006/relationships/tags" Target="../tags/tag7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77.xml"/><Relationship Id="rId4" Type="http://schemas.openxmlformats.org/officeDocument/2006/relationships/tags" Target="../tags/tag78.xml"/><Relationship Id="rId5" Type="http://schemas.openxmlformats.org/officeDocument/2006/relationships/tags" Target="../tags/tag79.xml"/><Relationship Id="rId6" Type="http://schemas.openxmlformats.org/officeDocument/2006/relationships/slideMaster" Target="../slideMasters/slideMaster1.xml"/><Relationship Id="rId7" Type="http://schemas.openxmlformats.org/officeDocument/2006/relationships/oleObject" Target="../embeddings/oleObject8.bin"/><Relationship Id="rId8" Type="http://schemas.openxmlformats.org/officeDocument/2006/relationships/image" Target="../media/image1.emf"/><Relationship Id="rId1" Type="http://schemas.openxmlformats.org/officeDocument/2006/relationships/vmlDrawing" Target="../drawings/vmlDrawing8.vml"/><Relationship Id="rId2" Type="http://schemas.openxmlformats.org/officeDocument/2006/relationships/tags" Target="../tags/tag7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81.xml"/><Relationship Id="rId4" Type="http://schemas.openxmlformats.org/officeDocument/2006/relationships/slideMaster" Target="../slideMasters/slideMaster1.xml"/><Relationship Id="rId5" Type="http://schemas.openxmlformats.org/officeDocument/2006/relationships/oleObject" Target="../embeddings/oleObject9.bin"/><Relationship Id="rId6" Type="http://schemas.openxmlformats.org/officeDocument/2006/relationships/image" Target="../media/image1.emf"/><Relationship Id="rId7" Type="http://schemas.openxmlformats.org/officeDocument/2006/relationships/image" Target="../media/image3.png"/><Relationship Id="rId1" Type="http://schemas.openxmlformats.org/officeDocument/2006/relationships/vmlDrawing" Target="../drawings/vmlDrawing9.vml"/><Relationship Id="rId2" Type="http://schemas.openxmlformats.org/officeDocument/2006/relationships/tags" Target="../tags/tag80.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83.xml"/><Relationship Id="rId4" Type="http://schemas.openxmlformats.org/officeDocument/2006/relationships/tags" Target="../tags/tag84.xml"/><Relationship Id="rId5" Type="http://schemas.openxmlformats.org/officeDocument/2006/relationships/tags" Target="../tags/tag85.xml"/><Relationship Id="rId6" Type="http://schemas.openxmlformats.org/officeDocument/2006/relationships/tags" Target="../tags/tag86.xml"/><Relationship Id="rId7" Type="http://schemas.openxmlformats.org/officeDocument/2006/relationships/slideMaster" Target="../slideMasters/slideMaster1.xml"/><Relationship Id="rId8" Type="http://schemas.openxmlformats.org/officeDocument/2006/relationships/oleObject" Target="../embeddings/oleObject10.bin"/><Relationship Id="rId9"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8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88.xml"/><Relationship Id="rId4" Type="http://schemas.openxmlformats.org/officeDocument/2006/relationships/tags" Target="../tags/tag89.xml"/><Relationship Id="rId5" Type="http://schemas.openxmlformats.org/officeDocument/2006/relationships/tags" Target="../tags/tag90.xml"/><Relationship Id="rId6" Type="http://schemas.openxmlformats.org/officeDocument/2006/relationships/slideMaster" Target="../slideMasters/slideMaster1.xml"/><Relationship Id="rId7" Type="http://schemas.openxmlformats.org/officeDocument/2006/relationships/oleObject" Target="../embeddings/oleObject11.bin"/><Relationship Id="rId8" Type="http://schemas.openxmlformats.org/officeDocument/2006/relationships/image" Target="../media/image1.emf"/><Relationship Id="rId1" Type="http://schemas.openxmlformats.org/officeDocument/2006/relationships/vmlDrawing" Target="../drawings/vmlDrawing11.vml"/><Relationship Id="rId2" Type="http://schemas.openxmlformats.org/officeDocument/2006/relationships/tags" Target="../tags/tag87.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92.xml"/><Relationship Id="rId4" Type="http://schemas.openxmlformats.org/officeDocument/2006/relationships/tags" Target="../tags/tag93.xml"/><Relationship Id="rId5" Type="http://schemas.openxmlformats.org/officeDocument/2006/relationships/tags" Target="../tags/tag94.xml"/><Relationship Id="rId6" Type="http://schemas.openxmlformats.org/officeDocument/2006/relationships/slideMaster" Target="../slideMasters/slideMaster1.xml"/><Relationship Id="rId7" Type="http://schemas.openxmlformats.org/officeDocument/2006/relationships/oleObject" Target="../embeddings/oleObject12.bin"/><Relationship Id="rId8" Type="http://schemas.openxmlformats.org/officeDocument/2006/relationships/image" Target="../media/image1.emf"/><Relationship Id="rId1" Type="http://schemas.openxmlformats.org/officeDocument/2006/relationships/vmlDrawing" Target="../drawings/vmlDrawing12.vml"/><Relationship Id="rId2" Type="http://schemas.openxmlformats.org/officeDocument/2006/relationships/tags" Target="../tags/tag91.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96.xml"/><Relationship Id="rId4" Type="http://schemas.openxmlformats.org/officeDocument/2006/relationships/slideMaster" Target="../slideMasters/slideMaster1.xml"/><Relationship Id="rId5" Type="http://schemas.openxmlformats.org/officeDocument/2006/relationships/oleObject" Target="../embeddings/oleObject13.bin"/><Relationship Id="rId6" Type="http://schemas.openxmlformats.org/officeDocument/2006/relationships/image" Target="../media/image1.emf"/><Relationship Id="rId7" Type="http://schemas.openxmlformats.org/officeDocument/2006/relationships/image" Target="../media/image3.png"/><Relationship Id="rId1" Type="http://schemas.openxmlformats.org/officeDocument/2006/relationships/vmlDrawing" Target="../drawings/vmlDrawing13.vml"/><Relationship Id="rId2" Type="http://schemas.openxmlformats.org/officeDocument/2006/relationships/tags" Target="../tags/tag9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98.xml"/><Relationship Id="rId4" Type="http://schemas.openxmlformats.org/officeDocument/2006/relationships/slideMaster" Target="../slideMasters/slideMaster1.xml"/><Relationship Id="rId5" Type="http://schemas.openxmlformats.org/officeDocument/2006/relationships/oleObject" Target="../embeddings/oleObject14.bin"/><Relationship Id="rId6" Type="http://schemas.openxmlformats.org/officeDocument/2006/relationships/image" Target="../media/image1.emf"/><Relationship Id="rId7" Type="http://schemas.openxmlformats.org/officeDocument/2006/relationships/image" Target="../media/image5.png"/><Relationship Id="rId1" Type="http://schemas.openxmlformats.org/officeDocument/2006/relationships/vmlDrawing" Target="../drawings/vmlDrawing14.vml"/><Relationship Id="rId2" Type="http://schemas.openxmlformats.org/officeDocument/2006/relationships/tags" Target="../tags/tag97.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1607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13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3000"/>
              </a:lnSpc>
              <a:spcBef>
                <a:spcPct val="0"/>
              </a:spcBef>
              <a:spcAft>
                <a:spcPct val="0"/>
              </a:spcAft>
            </a:pPr>
            <a:endParaRPr lang="en-US" sz="4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5" name="PanelWhite"/>
          <p:cNvSpPr/>
          <p:nvPr userDrawn="1"/>
        </p:nvSpPr>
        <p:spPr>
          <a:xfrm>
            <a:off x="0" y="5279183"/>
            <a:ext cx="9906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26" name="Shadow"/>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6186713" y="1973272"/>
            <a:ext cx="580573" cy="6858000"/>
          </a:xfrm>
          <a:prstGeom prst="rect">
            <a:avLst/>
          </a:prstGeom>
        </p:spPr>
      </p:pic>
      <p:pic>
        <p:nvPicPr>
          <p:cNvPr id="14"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l="9375" r="9375" b="23056"/>
          <a:stretch/>
        </p:blipFill>
        <p:spPr>
          <a:xfrm flipH="1">
            <a:off x="0" y="0"/>
            <a:ext cx="9906000" cy="5276850"/>
          </a:xfrm>
          <a:prstGeom prst="rect">
            <a:avLst/>
          </a:prstGeom>
        </p:spPr>
      </p:pic>
      <p:sp>
        <p:nvSpPr>
          <p:cNvPr id="20" name="Logo Placeholder"/>
          <p:cNvSpPr>
            <a:spLocks noGrp="1"/>
          </p:cNvSpPr>
          <p:nvPr>
            <p:ph type="pic" sz="quarter" idx="13" hasCustomPrompt="1"/>
          </p:nvPr>
        </p:nvSpPr>
        <p:spPr>
          <a:xfrm>
            <a:off x="7543864" y="5570643"/>
            <a:ext cx="1477137"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PanelGreen"/>
          <p:cNvSpPr>
            <a:spLocks noChangeAspect="1"/>
          </p:cNvSpPr>
          <p:nvPr userDrawn="1"/>
        </p:nvSpPr>
        <p:spPr bwMode="black">
          <a:xfrm>
            <a:off x="629999" y="622800"/>
            <a:ext cx="6427349" cy="5533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023841" y="6207842"/>
            <a:ext cx="5432198" cy="327148"/>
          </a:xfrm>
          <a:prstGeom prst="rect">
            <a:avLst/>
          </a:prstGeom>
          <a:noFill/>
        </p:spPr>
        <p:txBody>
          <a:bodyPr anchor="ctr"/>
          <a:lstStyle>
            <a:lvl1pPr algn="l">
              <a:lnSpc>
                <a:spcPct val="110000"/>
              </a:lnSpc>
              <a:buNone/>
              <a:defRPr sz="10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023841" y="5495707"/>
            <a:ext cx="5432198" cy="436195"/>
          </a:xfrm>
          <a:prstGeom prst="rect">
            <a:avLst/>
          </a:prstGeom>
        </p:spPr>
        <p:txBody>
          <a:bodyPr anchor="ctr"/>
          <a:lstStyle>
            <a:lvl1pPr marL="0" indent="0" algn="l">
              <a:lnSpc>
                <a:spcPct val="110000"/>
              </a:lnSpc>
              <a:buNone/>
              <a:defRPr sz="14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023841" y="1886243"/>
            <a:ext cx="5432198" cy="3138423"/>
          </a:xfrm>
          <a:prstGeom prst="rect">
            <a:avLst/>
          </a:prstGeom>
        </p:spPr>
        <p:txBody>
          <a:bodyPr anchor="b">
            <a:normAutofit/>
          </a:bodyPr>
          <a:lstStyle>
            <a:lvl1pPr algn="l">
              <a:lnSpc>
                <a:spcPct val="93000"/>
              </a:lnSpc>
              <a:defRPr sz="4400" baseline="0">
                <a:solidFill>
                  <a:schemeClr val="bg1"/>
                </a:solidFill>
                <a:latin typeface="+mj-lt"/>
                <a:sym typeface="Trebuchet MS" panose="020B0603020202020204" pitchFamily="34" charset="0"/>
              </a:defRPr>
            </a:lvl1pPr>
          </a:lstStyle>
          <a:p>
            <a:r>
              <a:rPr lang="en-US" dirty="0"/>
              <a:t>Title in Title Case</a:t>
            </a:r>
          </a:p>
        </p:txBody>
      </p:sp>
      <p:sp>
        <p:nvSpPr>
          <p:cNvPr id="13" name="Freeform 12">
            <a:extLst>
              <a:ext uri="{FF2B5EF4-FFF2-40B4-BE49-F238E27FC236}">
                <a16:creationId xmlns:a16="http://schemas.microsoft.com/office/drawing/2014/main" xmlns="" id="{B12DC091-DC3C-4E05-827B-1C699903C407}"/>
              </a:ext>
            </a:extLst>
          </p:cNvPr>
          <p:cNvSpPr>
            <a:spLocks noChangeAspect="1"/>
          </p:cNvSpPr>
          <p:nvPr userDrawn="1">
            <p:custDataLst>
              <p:tags r:id="rId5"/>
            </p:custDataLst>
          </p:nvPr>
        </p:nvSpPr>
        <p:spPr>
          <a:xfrm>
            <a:off x="1023841" y="1016644"/>
            <a:ext cx="1883957" cy="393843"/>
          </a:xfrm>
          <a:custGeom>
            <a:avLst/>
            <a:gdLst>
              <a:gd name="connsiteX0" fmla="*/ 3149701 w 4032385"/>
              <a:gd name="connsiteY0" fmla="*/ 673171 h 842974"/>
              <a:gd name="connsiteX1" fmla="*/ 3149701 w 4032385"/>
              <a:gd name="connsiteY1" fmla="*/ 738035 h 842974"/>
              <a:gd name="connsiteX2" fmla="*/ 3190456 w 4032385"/>
              <a:gd name="connsiteY2" fmla="*/ 738035 h 842974"/>
              <a:gd name="connsiteX3" fmla="*/ 3213869 w 4032385"/>
              <a:gd name="connsiteY3" fmla="*/ 729354 h 842974"/>
              <a:gd name="connsiteX4" fmla="*/ 3213869 w 4032385"/>
              <a:gd name="connsiteY4" fmla="*/ 682023 h 842974"/>
              <a:gd name="connsiteX5" fmla="*/ 3190456 w 4032385"/>
              <a:gd name="connsiteY5" fmla="*/ 673171 h 842974"/>
              <a:gd name="connsiteX6" fmla="*/ 2552665 w 4032385"/>
              <a:gd name="connsiteY6" fmla="*/ 673171 h 842974"/>
              <a:gd name="connsiteX7" fmla="*/ 2552665 w 4032385"/>
              <a:gd name="connsiteY7" fmla="*/ 735465 h 842974"/>
              <a:gd name="connsiteX8" fmla="*/ 2596244 w 4032385"/>
              <a:gd name="connsiteY8" fmla="*/ 735465 h 842974"/>
              <a:gd name="connsiteX9" fmla="*/ 2618835 w 4032385"/>
              <a:gd name="connsiteY9" fmla="*/ 727161 h 842974"/>
              <a:gd name="connsiteX10" fmla="*/ 2627771 w 4032385"/>
              <a:gd name="connsiteY10" fmla="*/ 704444 h 842974"/>
              <a:gd name="connsiteX11" fmla="*/ 2618835 w 4032385"/>
              <a:gd name="connsiteY11" fmla="*/ 681706 h 842974"/>
              <a:gd name="connsiteX12" fmla="*/ 2596244 w 4032385"/>
              <a:gd name="connsiteY12" fmla="*/ 673171 h 842974"/>
              <a:gd name="connsiteX13" fmla="*/ 2785970 w 4032385"/>
              <a:gd name="connsiteY13" fmla="*/ 669841 h 842974"/>
              <a:gd name="connsiteX14" fmla="*/ 2739924 w 4032385"/>
              <a:gd name="connsiteY14" fmla="*/ 689229 h 842974"/>
              <a:gd name="connsiteX15" fmla="*/ 2739924 w 4032385"/>
              <a:gd name="connsiteY15" fmla="*/ 783745 h 842974"/>
              <a:gd name="connsiteX16" fmla="*/ 2785906 w 4032385"/>
              <a:gd name="connsiteY16" fmla="*/ 803132 h 842974"/>
              <a:gd name="connsiteX17" fmla="*/ 2832099 w 4032385"/>
              <a:gd name="connsiteY17" fmla="*/ 783829 h 842974"/>
              <a:gd name="connsiteX18" fmla="*/ 2832015 w 4032385"/>
              <a:gd name="connsiteY18" fmla="*/ 689229 h 842974"/>
              <a:gd name="connsiteX19" fmla="*/ 2785970 w 4032385"/>
              <a:gd name="connsiteY19" fmla="*/ 669841 h 842974"/>
              <a:gd name="connsiteX20" fmla="*/ 3120744 w 4032385"/>
              <a:gd name="connsiteY20" fmla="*/ 646767 h 842974"/>
              <a:gd name="connsiteX21" fmla="*/ 3190456 w 4032385"/>
              <a:gd name="connsiteY21" fmla="*/ 646767 h 842974"/>
              <a:gd name="connsiteX22" fmla="*/ 3235953 w 4032385"/>
              <a:gd name="connsiteY22" fmla="*/ 663688 h 842974"/>
              <a:gd name="connsiteX23" fmla="*/ 3235953 w 4032385"/>
              <a:gd name="connsiteY23" fmla="*/ 746739 h 842974"/>
              <a:gd name="connsiteX24" fmla="*/ 3190456 w 4032385"/>
              <a:gd name="connsiteY24" fmla="*/ 763662 h 842974"/>
              <a:gd name="connsiteX25" fmla="*/ 3149701 w 4032385"/>
              <a:gd name="connsiteY25" fmla="*/ 763662 h 842974"/>
              <a:gd name="connsiteX26" fmla="*/ 3149701 w 4032385"/>
              <a:gd name="connsiteY26" fmla="*/ 826186 h 842974"/>
              <a:gd name="connsiteX27" fmla="*/ 3120744 w 4032385"/>
              <a:gd name="connsiteY27" fmla="*/ 826186 h 842974"/>
              <a:gd name="connsiteX28" fmla="*/ 2919303 w 4032385"/>
              <a:gd name="connsiteY28" fmla="*/ 646767 h 842974"/>
              <a:gd name="connsiteX29" fmla="*/ 2948257 w 4032385"/>
              <a:gd name="connsiteY29" fmla="*/ 646767 h 842974"/>
              <a:gd name="connsiteX30" fmla="*/ 2948257 w 4032385"/>
              <a:gd name="connsiteY30" fmla="*/ 756728 h 842974"/>
              <a:gd name="connsiteX31" fmla="*/ 2960691 w 4032385"/>
              <a:gd name="connsiteY31" fmla="*/ 789855 h 842974"/>
              <a:gd name="connsiteX32" fmla="*/ 3026757 w 4032385"/>
              <a:gd name="connsiteY32" fmla="*/ 789855 h 842974"/>
              <a:gd name="connsiteX33" fmla="*/ 3039233 w 4032385"/>
              <a:gd name="connsiteY33" fmla="*/ 756728 h 842974"/>
              <a:gd name="connsiteX34" fmla="*/ 3039233 w 4032385"/>
              <a:gd name="connsiteY34" fmla="*/ 646767 h 842974"/>
              <a:gd name="connsiteX35" fmla="*/ 3067681 w 4032385"/>
              <a:gd name="connsiteY35" fmla="*/ 646767 h 842974"/>
              <a:gd name="connsiteX36" fmla="*/ 3067681 w 4032385"/>
              <a:gd name="connsiteY36" fmla="*/ 757003 h 842974"/>
              <a:gd name="connsiteX37" fmla="*/ 3046607 w 4032385"/>
              <a:gd name="connsiteY37" fmla="*/ 809285 h 842974"/>
              <a:gd name="connsiteX38" fmla="*/ 2940503 w 4032385"/>
              <a:gd name="connsiteY38" fmla="*/ 809285 h 842974"/>
              <a:gd name="connsiteX39" fmla="*/ 2919303 w 4032385"/>
              <a:gd name="connsiteY39" fmla="*/ 757003 h 842974"/>
              <a:gd name="connsiteX40" fmla="*/ 2523708 w 4032385"/>
              <a:gd name="connsiteY40" fmla="*/ 646767 h 842974"/>
              <a:gd name="connsiteX41" fmla="*/ 2596244 w 4032385"/>
              <a:gd name="connsiteY41" fmla="*/ 646767 h 842974"/>
              <a:gd name="connsiteX42" fmla="*/ 2640900 w 4032385"/>
              <a:gd name="connsiteY42" fmla="*/ 663414 h 842974"/>
              <a:gd name="connsiteX43" fmla="*/ 2646926 w 4032385"/>
              <a:gd name="connsiteY43" fmla="*/ 738816 h 842974"/>
              <a:gd name="connsiteX44" fmla="*/ 2617529 w 4032385"/>
              <a:gd name="connsiteY44" fmla="*/ 758014 h 842974"/>
              <a:gd name="connsiteX45" fmla="*/ 2638919 w 4032385"/>
              <a:gd name="connsiteY45" fmla="*/ 792090 h 842974"/>
              <a:gd name="connsiteX46" fmla="*/ 2660329 w 4032385"/>
              <a:gd name="connsiteY46" fmla="*/ 826186 h 842974"/>
              <a:gd name="connsiteX47" fmla="*/ 2626738 w 4032385"/>
              <a:gd name="connsiteY47" fmla="*/ 826186 h 842974"/>
              <a:gd name="connsiteX48" fmla="*/ 2606888 w 4032385"/>
              <a:gd name="connsiteY48" fmla="*/ 793776 h 842974"/>
              <a:gd name="connsiteX49" fmla="*/ 2587015 w 4032385"/>
              <a:gd name="connsiteY49" fmla="*/ 761344 h 842974"/>
              <a:gd name="connsiteX50" fmla="*/ 2552665 w 4032385"/>
              <a:gd name="connsiteY50" fmla="*/ 761344 h 842974"/>
              <a:gd name="connsiteX51" fmla="*/ 2552665 w 4032385"/>
              <a:gd name="connsiteY51" fmla="*/ 826186 h 842974"/>
              <a:gd name="connsiteX52" fmla="*/ 2523708 w 4032385"/>
              <a:gd name="connsiteY52" fmla="*/ 826186 h 842974"/>
              <a:gd name="connsiteX53" fmla="*/ 2785971 w 4032385"/>
              <a:gd name="connsiteY53" fmla="*/ 643110 h 842974"/>
              <a:gd name="connsiteX54" fmla="*/ 2852899 w 4032385"/>
              <a:gd name="connsiteY54" fmla="*/ 670390 h 842974"/>
              <a:gd name="connsiteX55" fmla="*/ 2880486 w 4032385"/>
              <a:gd name="connsiteY55" fmla="*/ 736498 h 842974"/>
              <a:gd name="connsiteX56" fmla="*/ 2852899 w 4032385"/>
              <a:gd name="connsiteY56" fmla="*/ 802584 h 842974"/>
              <a:gd name="connsiteX57" fmla="*/ 2785906 w 4032385"/>
              <a:gd name="connsiteY57" fmla="*/ 830042 h 842974"/>
              <a:gd name="connsiteX58" fmla="*/ 2719041 w 4032385"/>
              <a:gd name="connsiteY58" fmla="*/ 802584 h 842974"/>
              <a:gd name="connsiteX59" fmla="*/ 2691582 w 4032385"/>
              <a:gd name="connsiteY59" fmla="*/ 736498 h 842974"/>
              <a:gd name="connsiteX60" fmla="*/ 2719041 w 4032385"/>
              <a:gd name="connsiteY60" fmla="*/ 670390 h 842974"/>
              <a:gd name="connsiteX61" fmla="*/ 2785971 w 4032385"/>
              <a:gd name="connsiteY61" fmla="*/ 643110 h 842974"/>
              <a:gd name="connsiteX62" fmla="*/ 2396594 w 4032385"/>
              <a:gd name="connsiteY62" fmla="*/ 642931 h 842974"/>
              <a:gd name="connsiteX63" fmla="*/ 2426982 w 4032385"/>
              <a:gd name="connsiteY63" fmla="*/ 647040 h 842974"/>
              <a:gd name="connsiteX64" fmla="*/ 2452965 w 4032385"/>
              <a:gd name="connsiteY64" fmla="*/ 659600 h 842974"/>
              <a:gd name="connsiteX65" fmla="*/ 2445401 w 4032385"/>
              <a:gd name="connsiteY65" fmla="*/ 671381 h 842974"/>
              <a:gd name="connsiteX66" fmla="*/ 2437856 w 4032385"/>
              <a:gd name="connsiteY66" fmla="*/ 683160 h 842974"/>
              <a:gd name="connsiteX67" fmla="*/ 2418531 w 4032385"/>
              <a:gd name="connsiteY67" fmla="*/ 673045 h 842974"/>
              <a:gd name="connsiteX68" fmla="*/ 2396320 w 4032385"/>
              <a:gd name="connsiteY68" fmla="*/ 669863 h 842974"/>
              <a:gd name="connsiteX69" fmla="*/ 2350611 w 4032385"/>
              <a:gd name="connsiteY69" fmla="*/ 689041 h 842974"/>
              <a:gd name="connsiteX70" fmla="*/ 2332002 w 4032385"/>
              <a:gd name="connsiteY70" fmla="*/ 736498 h 842974"/>
              <a:gd name="connsiteX71" fmla="*/ 2350106 w 4032385"/>
              <a:gd name="connsiteY71" fmla="*/ 784061 h 842974"/>
              <a:gd name="connsiteX72" fmla="*/ 2395309 w 4032385"/>
              <a:gd name="connsiteY72" fmla="*/ 803384 h 842974"/>
              <a:gd name="connsiteX73" fmla="*/ 2435454 w 4032385"/>
              <a:gd name="connsiteY73" fmla="*/ 789161 h 842974"/>
              <a:gd name="connsiteX74" fmla="*/ 2454251 w 4032385"/>
              <a:gd name="connsiteY74" fmla="*/ 753399 h 842974"/>
              <a:gd name="connsiteX75" fmla="*/ 2393265 w 4032385"/>
              <a:gd name="connsiteY75" fmla="*/ 753399 h 842974"/>
              <a:gd name="connsiteX76" fmla="*/ 2401588 w 4032385"/>
              <a:gd name="connsiteY76" fmla="*/ 740332 h 842974"/>
              <a:gd name="connsiteX77" fmla="*/ 2409911 w 4032385"/>
              <a:gd name="connsiteY77" fmla="*/ 727267 h 842974"/>
              <a:gd name="connsiteX78" fmla="*/ 2481690 w 4032385"/>
              <a:gd name="connsiteY78" fmla="*/ 727267 h 842974"/>
              <a:gd name="connsiteX79" fmla="*/ 2482617 w 4032385"/>
              <a:gd name="connsiteY79" fmla="*/ 733000 h 842974"/>
              <a:gd name="connsiteX80" fmla="*/ 2482953 w 4032385"/>
              <a:gd name="connsiteY80" fmla="*/ 740080 h 842974"/>
              <a:gd name="connsiteX81" fmla="*/ 2458507 w 4032385"/>
              <a:gd name="connsiteY81" fmla="*/ 804185 h 842974"/>
              <a:gd name="connsiteX82" fmla="*/ 2395054 w 4032385"/>
              <a:gd name="connsiteY82" fmla="*/ 830042 h 842974"/>
              <a:gd name="connsiteX83" fmla="*/ 2329263 w 4032385"/>
              <a:gd name="connsiteY83" fmla="*/ 802774 h 842974"/>
              <a:gd name="connsiteX84" fmla="*/ 2329938 w 4032385"/>
              <a:gd name="connsiteY84" fmla="*/ 670199 h 842974"/>
              <a:gd name="connsiteX85" fmla="*/ 2396594 w 4032385"/>
              <a:gd name="connsiteY85" fmla="*/ 642931 h 842974"/>
              <a:gd name="connsiteX86" fmla="*/ 175520 w 4032385"/>
              <a:gd name="connsiteY86" fmla="*/ 491918 h 842974"/>
              <a:gd name="connsiteX87" fmla="*/ 175520 w 4032385"/>
              <a:gd name="connsiteY87" fmla="*/ 675531 h 842974"/>
              <a:gd name="connsiteX88" fmla="*/ 414560 w 4032385"/>
              <a:gd name="connsiteY88" fmla="*/ 675531 h 842974"/>
              <a:gd name="connsiteX89" fmla="*/ 482396 w 4032385"/>
              <a:gd name="connsiteY89" fmla="*/ 648832 h 842974"/>
              <a:gd name="connsiteX90" fmla="*/ 510401 w 4032385"/>
              <a:gd name="connsiteY90" fmla="*/ 583146 h 842974"/>
              <a:gd name="connsiteX91" fmla="*/ 482396 w 4032385"/>
              <a:gd name="connsiteY91" fmla="*/ 518049 h 842974"/>
              <a:gd name="connsiteX92" fmla="*/ 414560 w 4032385"/>
              <a:gd name="connsiteY92" fmla="*/ 491918 h 842974"/>
              <a:gd name="connsiteX93" fmla="*/ 2577194 w 4032385"/>
              <a:gd name="connsiteY93" fmla="*/ 355151 h 842974"/>
              <a:gd name="connsiteX94" fmla="*/ 2531149 w 4032385"/>
              <a:gd name="connsiteY94" fmla="*/ 374539 h 842974"/>
              <a:gd name="connsiteX95" fmla="*/ 2531149 w 4032385"/>
              <a:gd name="connsiteY95" fmla="*/ 469052 h 842974"/>
              <a:gd name="connsiteX96" fmla="*/ 2577130 w 4032385"/>
              <a:gd name="connsiteY96" fmla="*/ 488420 h 842974"/>
              <a:gd name="connsiteX97" fmla="*/ 2623324 w 4032385"/>
              <a:gd name="connsiteY97" fmla="*/ 469137 h 842974"/>
              <a:gd name="connsiteX98" fmla="*/ 2623218 w 4032385"/>
              <a:gd name="connsiteY98" fmla="*/ 374539 h 842974"/>
              <a:gd name="connsiteX99" fmla="*/ 2577194 w 4032385"/>
              <a:gd name="connsiteY99" fmla="*/ 355151 h 842974"/>
              <a:gd name="connsiteX100" fmla="*/ 3664168 w 4032385"/>
              <a:gd name="connsiteY100" fmla="*/ 332095 h 842974"/>
              <a:gd name="connsiteX101" fmla="*/ 3699804 w 4032385"/>
              <a:gd name="connsiteY101" fmla="*/ 332095 h 842974"/>
              <a:gd name="connsiteX102" fmla="*/ 3741699 w 4032385"/>
              <a:gd name="connsiteY102" fmla="*/ 399889 h 842974"/>
              <a:gd name="connsiteX103" fmla="*/ 3783614 w 4032385"/>
              <a:gd name="connsiteY103" fmla="*/ 467683 h 842974"/>
              <a:gd name="connsiteX104" fmla="*/ 3783614 w 4032385"/>
              <a:gd name="connsiteY104" fmla="*/ 332095 h 842974"/>
              <a:gd name="connsiteX105" fmla="*/ 3811283 w 4032385"/>
              <a:gd name="connsiteY105" fmla="*/ 332095 h 842974"/>
              <a:gd name="connsiteX106" fmla="*/ 3811283 w 4032385"/>
              <a:gd name="connsiteY106" fmla="*/ 511496 h 842974"/>
              <a:gd name="connsiteX107" fmla="*/ 3777713 w 4032385"/>
              <a:gd name="connsiteY107" fmla="*/ 511496 h 842974"/>
              <a:gd name="connsiteX108" fmla="*/ 3734788 w 4032385"/>
              <a:gd name="connsiteY108" fmla="*/ 442036 h 842974"/>
              <a:gd name="connsiteX109" fmla="*/ 3691839 w 4032385"/>
              <a:gd name="connsiteY109" fmla="*/ 372599 h 842974"/>
              <a:gd name="connsiteX110" fmla="*/ 3691839 w 4032385"/>
              <a:gd name="connsiteY110" fmla="*/ 511496 h 842974"/>
              <a:gd name="connsiteX111" fmla="*/ 3664168 w 4032385"/>
              <a:gd name="connsiteY111" fmla="*/ 511496 h 842974"/>
              <a:gd name="connsiteX112" fmla="*/ 3571276 w 4032385"/>
              <a:gd name="connsiteY112" fmla="*/ 332095 h 842974"/>
              <a:gd name="connsiteX113" fmla="*/ 3600233 w 4032385"/>
              <a:gd name="connsiteY113" fmla="*/ 332095 h 842974"/>
              <a:gd name="connsiteX114" fmla="*/ 3600233 w 4032385"/>
              <a:gd name="connsiteY114" fmla="*/ 511496 h 842974"/>
              <a:gd name="connsiteX115" fmla="*/ 3571276 w 4032385"/>
              <a:gd name="connsiteY115" fmla="*/ 511496 h 842974"/>
              <a:gd name="connsiteX116" fmla="*/ 3385977 w 4032385"/>
              <a:gd name="connsiteY116" fmla="*/ 332095 h 842974"/>
              <a:gd name="connsiteX117" fmla="*/ 3527698 w 4032385"/>
              <a:gd name="connsiteY117" fmla="*/ 332095 h 842974"/>
              <a:gd name="connsiteX118" fmla="*/ 3527698 w 4032385"/>
              <a:gd name="connsiteY118" fmla="*/ 358733 h 842974"/>
              <a:gd name="connsiteX119" fmla="*/ 3471325 w 4032385"/>
              <a:gd name="connsiteY119" fmla="*/ 358733 h 842974"/>
              <a:gd name="connsiteX120" fmla="*/ 3471325 w 4032385"/>
              <a:gd name="connsiteY120" fmla="*/ 511496 h 842974"/>
              <a:gd name="connsiteX121" fmla="*/ 3442096 w 4032385"/>
              <a:gd name="connsiteY121" fmla="*/ 511496 h 842974"/>
              <a:gd name="connsiteX122" fmla="*/ 3442096 w 4032385"/>
              <a:gd name="connsiteY122" fmla="*/ 358733 h 842974"/>
              <a:gd name="connsiteX123" fmla="*/ 3385977 w 4032385"/>
              <a:gd name="connsiteY123" fmla="*/ 358733 h 842974"/>
              <a:gd name="connsiteX124" fmla="*/ 3273572 w 4032385"/>
              <a:gd name="connsiteY124" fmla="*/ 332095 h 842974"/>
              <a:gd name="connsiteX125" fmla="*/ 3302526 w 4032385"/>
              <a:gd name="connsiteY125" fmla="*/ 332095 h 842974"/>
              <a:gd name="connsiteX126" fmla="*/ 3302526 w 4032385"/>
              <a:gd name="connsiteY126" fmla="*/ 484836 h 842974"/>
              <a:gd name="connsiteX127" fmla="*/ 3390951 w 4032385"/>
              <a:gd name="connsiteY127" fmla="*/ 484836 h 842974"/>
              <a:gd name="connsiteX128" fmla="*/ 3390951 w 4032385"/>
              <a:gd name="connsiteY128" fmla="*/ 511496 h 842974"/>
              <a:gd name="connsiteX129" fmla="*/ 3273572 w 4032385"/>
              <a:gd name="connsiteY129" fmla="*/ 511496 h 842974"/>
              <a:gd name="connsiteX130" fmla="*/ 3073730 w 4032385"/>
              <a:gd name="connsiteY130" fmla="*/ 332095 h 842974"/>
              <a:gd name="connsiteX131" fmla="*/ 3102684 w 4032385"/>
              <a:gd name="connsiteY131" fmla="*/ 332095 h 842974"/>
              <a:gd name="connsiteX132" fmla="*/ 3102684 w 4032385"/>
              <a:gd name="connsiteY132" fmla="*/ 442036 h 842974"/>
              <a:gd name="connsiteX133" fmla="*/ 3115118 w 4032385"/>
              <a:gd name="connsiteY133" fmla="*/ 475163 h 842974"/>
              <a:gd name="connsiteX134" fmla="*/ 3181184 w 4032385"/>
              <a:gd name="connsiteY134" fmla="*/ 475163 h 842974"/>
              <a:gd name="connsiteX135" fmla="*/ 3193680 w 4032385"/>
              <a:gd name="connsiteY135" fmla="*/ 442036 h 842974"/>
              <a:gd name="connsiteX136" fmla="*/ 3193680 w 4032385"/>
              <a:gd name="connsiteY136" fmla="*/ 332095 h 842974"/>
              <a:gd name="connsiteX137" fmla="*/ 3222130 w 4032385"/>
              <a:gd name="connsiteY137" fmla="*/ 332095 h 842974"/>
              <a:gd name="connsiteX138" fmla="*/ 3222130 w 4032385"/>
              <a:gd name="connsiteY138" fmla="*/ 442288 h 842974"/>
              <a:gd name="connsiteX139" fmla="*/ 3201056 w 4032385"/>
              <a:gd name="connsiteY139" fmla="*/ 494573 h 842974"/>
              <a:gd name="connsiteX140" fmla="*/ 3094930 w 4032385"/>
              <a:gd name="connsiteY140" fmla="*/ 494573 h 842974"/>
              <a:gd name="connsiteX141" fmla="*/ 3073730 w 4032385"/>
              <a:gd name="connsiteY141" fmla="*/ 442288 h 842974"/>
              <a:gd name="connsiteX142" fmla="*/ 2712886 w 4032385"/>
              <a:gd name="connsiteY142" fmla="*/ 332095 h 842974"/>
              <a:gd name="connsiteX143" fmla="*/ 2748522 w 4032385"/>
              <a:gd name="connsiteY143" fmla="*/ 332095 h 842974"/>
              <a:gd name="connsiteX144" fmla="*/ 2832332 w 4032385"/>
              <a:gd name="connsiteY144" fmla="*/ 467663 h 842974"/>
              <a:gd name="connsiteX145" fmla="*/ 2832332 w 4032385"/>
              <a:gd name="connsiteY145" fmla="*/ 332095 h 842974"/>
              <a:gd name="connsiteX146" fmla="*/ 2860023 w 4032385"/>
              <a:gd name="connsiteY146" fmla="*/ 332095 h 842974"/>
              <a:gd name="connsiteX147" fmla="*/ 2860023 w 4032385"/>
              <a:gd name="connsiteY147" fmla="*/ 511496 h 842974"/>
              <a:gd name="connsiteX148" fmla="*/ 2826431 w 4032385"/>
              <a:gd name="connsiteY148" fmla="*/ 511496 h 842974"/>
              <a:gd name="connsiteX149" fmla="*/ 2740577 w 4032385"/>
              <a:gd name="connsiteY149" fmla="*/ 372579 h 842974"/>
              <a:gd name="connsiteX150" fmla="*/ 2740577 w 4032385"/>
              <a:gd name="connsiteY150" fmla="*/ 511496 h 842974"/>
              <a:gd name="connsiteX151" fmla="*/ 2712886 w 4032385"/>
              <a:gd name="connsiteY151" fmla="*/ 511496 h 842974"/>
              <a:gd name="connsiteX152" fmla="*/ 2577187 w 4032385"/>
              <a:gd name="connsiteY152" fmla="*/ 328418 h 842974"/>
              <a:gd name="connsiteX153" fmla="*/ 2644123 w 4032385"/>
              <a:gd name="connsiteY153" fmla="*/ 355698 h 842974"/>
              <a:gd name="connsiteX154" fmla="*/ 2671710 w 4032385"/>
              <a:gd name="connsiteY154" fmla="*/ 421786 h 842974"/>
              <a:gd name="connsiteX155" fmla="*/ 2644123 w 4032385"/>
              <a:gd name="connsiteY155" fmla="*/ 487872 h 842974"/>
              <a:gd name="connsiteX156" fmla="*/ 2577130 w 4032385"/>
              <a:gd name="connsiteY156" fmla="*/ 515330 h 842974"/>
              <a:gd name="connsiteX157" fmla="*/ 2510263 w 4032385"/>
              <a:gd name="connsiteY157" fmla="*/ 487872 h 842974"/>
              <a:gd name="connsiteX158" fmla="*/ 2482805 w 4032385"/>
              <a:gd name="connsiteY158" fmla="*/ 421786 h 842974"/>
              <a:gd name="connsiteX159" fmla="*/ 2510263 w 4032385"/>
              <a:gd name="connsiteY159" fmla="*/ 355698 h 842974"/>
              <a:gd name="connsiteX160" fmla="*/ 2577187 w 4032385"/>
              <a:gd name="connsiteY160" fmla="*/ 328418 h 842974"/>
              <a:gd name="connsiteX161" fmla="*/ 3945986 w 4032385"/>
              <a:gd name="connsiteY161" fmla="*/ 328239 h 842974"/>
              <a:gd name="connsiteX162" fmla="*/ 3976396 w 4032385"/>
              <a:gd name="connsiteY162" fmla="*/ 332347 h 842974"/>
              <a:gd name="connsiteX163" fmla="*/ 4002359 w 4032385"/>
              <a:gd name="connsiteY163" fmla="*/ 344908 h 842974"/>
              <a:gd name="connsiteX164" fmla="*/ 3994814 w 4032385"/>
              <a:gd name="connsiteY164" fmla="*/ 356689 h 842974"/>
              <a:gd name="connsiteX165" fmla="*/ 3987248 w 4032385"/>
              <a:gd name="connsiteY165" fmla="*/ 368468 h 842974"/>
              <a:gd name="connsiteX166" fmla="*/ 3967944 w 4032385"/>
              <a:gd name="connsiteY166" fmla="*/ 358353 h 842974"/>
              <a:gd name="connsiteX167" fmla="*/ 3945733 w 4032385"/>
              <a:gd name="connsiteY167" fmla="*/ 355171 h 842974"/>
              <a:gd name="connsiteX168" fmla="*/ 3900004 w 4032385"/>
              <a:gd name="connsiteY168" fmla="*/ 374349 h 842974"/>
              <a:gd name="connsiteX169" fmla="*/ 3881395 w 4032385"/>
              <a:gd name="connsiteY169" fmla="*/ 421806 h 842974"/>
              <a:gd name="connsiteX170" fmla="*/ 3899498 w 4032385"/>
              <a:gd name="connsiteY170" fmla="*/ 469369 h 842974"/>
              <a:gd name="connsiteX171" fmla="*/ 3944700 w 4032385"/>
              <a:gd name="connsiteY171" fmla="*/ 488692 h 842974"/>
              <a:gd name="connsiteX172" fmla="*/ 3984845 w 4032385"/>
              <a:gd name="connsiteY172" fmla="*/ 474469 h 842974"/>
              <a:gd name="connsiteX173" fmla="*/ 4003664 w 4032385"/>
              <a:gd name="connsiteY173" fmla="*/ 438707 h 842974"/>
              <a:gd name="connsiteX174" fmla="*/ 3942656 w 4032385"/>
              <a:gd name="connsiteY174" fmla="*/ 438707 h 842974"/>
              <a:gd name="connsiteX175" fmla="*/ 3950981 w 4032385"/>
              <a:gd name="connsiteY175" fmla="*/ 425642 h 842974"/>
              <a:gd name="connsiteX176" fmla="*/ 3959327 w 4032385"/>
              <a:gd name="connsiteY176" fmla="*/ 412575 h 842974"/>
              <a:gd name="connsiteX177" fmla="*/ 4031081 w 4032385"/>
              <a:gd name="connsiteY177" fmla="*/ 412575 h 842974"/>
              <a:gd name="connsiteX178" fmla="*/ 4032008 w 4032385"/>
              <a:gd name="connsiteY178" fmla="*/ 418308 h 842974"/>
              <a:gd name="connsiteX179" fmla="*/ 4032366 w 4032385"/>
              <a:gd name="connsiteY179" fmla="*/ 425388 h 842974"/>
              <a:gd name="connsiteX180" fmla="*/ 4007921 w 4032385"/>
              <a:gd name="connsiteY180" fmla="*/ 489493 h 842974"/>
              <a:gd name="connsiteX181" fmla="*/ 3944448 w 4032385"/>
              <a:gd name="connsiteY181" fmla="*/ 515352 h 842974"/>
              <a:gd name="connsiteX182" fmla="*/ 3878676 w 4032385"/>
              <a:gd name="connsiteY182" fmla="*/ 488082 h 842974"/>
              <a:gd name="connsiteX183" fmla="*/ 3879351 w 4032385"/>
              <a:gd name="connsiteY183" fmla="*/ 355507 h 842974"/>
              <a:gd name="connsiteX184" fmla="*/ 3945986 w 4032385"/>
              <a:gd name="connsiteY184" fmla="*/ 328239 h 842974"/>
              <a:gd name="connsiteX185" fmla="*/ 2397605 w 4032385"/>
              <a:gd name="connsiteY185" fmla="*/ 328239 h 842974"/>
              <a:gd name="connsiteX186" fmla="*/ 2457580 w 4032385"/>
              <a:gd name="connsiteY186" fmla="*/ 348217 h 842974"/>
              <a:gd name="connsiteX187" fmla="*/ 2450142 w 4032385"/>
              <a:gd name="connsiteY187" fmla="*/ 359892 h 842974"/>
              <a:gd name="connsiteX188" fmla="*/ 2442724 w 4032385"/>
              <a:gd name="connsiteY188" fmla="*/ 371545 h 842974"/>
              <a:gd name="connsiteX189" fmla="*/ 2421208 w 4032385"/>
              <a:gd name="connsiteY189" fmla="*/ 359176 h 842974"/>
              <a:gd name="connsiteX190" fmla="*/ 2396068 w 4032385"/>
              <a:gd name="connsiteY190" fmla="*/ 354897 h 842974"/>
              <a:gd name="connsiteX191" fmla="*/ 2350675 w 4032385"/>
              <a:gd name="connsiteY191" fmla="*/ 374223 h 842974"/>
              <a:gd name="connsiteX192" fmla="*/ 2350675 w 4032385"/>
              <a:gd name="connsiteY192" fmla="*/ 469369 h 842974"/>
              <a:gd name="connsiteX193" fmla="*/ 2396068 w 4032385"/>
              <a:gd name="connsiteY193" fmla="*/ 488692 h 842974"/>
              <a:gd name="connsiteX194" fmla="*/ 2421208 w 4032385"/>
              <a:gd name="connsiteY194" fmla="*/ 484394 h 842974"/>
              <a:gd name="connsiteX195" fmla="*/ 2442724 w 4032385"/>
              <a:gd name="connsiteY195" fmla="*/ 472024 h 842974"/>
              <a:gd name="connsiteX196" fmla="*/ 2450142 w 4032385"/>
              <a:gd name="connsiteY196" fmla="*/ 483699 h 842974"/>
              <a:gd name="connsiteX197" fmla="*/ 2457580 w 4032385"/>
              <a:gd name="connsiteY197" fmla="*/ 495352 h 842974"/>
              <a:gd name="connsiteX198" fmla="*/ 2397605 w 4032385"/>
              <a:gd name="connsiteY198" fmla="*/ 515330 h 842974"/>
              <a:gd name="connsiteX199" fmla="*/ 2330086 w 4032385"/>
              <a:gd name="connsiteY199" fmla="*/ 488062 h 842974"/>
              <a:gd name="connsiteX200" fmla="*/ 2302521 w 4032385"/>
              <a:gd name="connsiteY200" fmla="*/ 421786 h 842974"/>
              <a:gd name="connsiteX201" fmla="*/ 2330086 w 4032385"/>
              <a:gd name="connsiteY201" fmla="*/ 355507 h 842974"/>
              <a:gd name="connsiteX202" fmla="*/ 2397605 w 4032385"/>
              <a:gd name="connsiteY202" fmla="*/ 328239 h 842974"/>
              <a:gd name="connsiteX203" fmla="*/ 2967329 w 4032385"/>
              <a:gd name="connsiteY203" fmla="*/ 328177 h 842974"/>
              <a:gd name="connsiteX204" fmla="*/ 2967709 w 4032385"/>
              <a:gd name="connsiteY204" fmla="*/ 328177 h 842974"/>
              <a:gd name="connsiteX205" fmla="*/ 2970364 w 4032385"/>
              <a:gd name="connsiteY205" fmla="*/ 328239 h 842974"/>
              <a:gd name="connsiteX206" fmla="*/ 3000226 w 4032385"/>
              <a:gd name="connsiteY206" fmla="*/ 332854 h 842974"/>
              <a:gd name="connsiteX207" fmla="*/ 3024691 w 4032385"/>
              <a:gd name="connsiteY207" fmla="*/ 345162 h 842974"/>
              <a:gd name="connsiteX208" fmla="*/ 3017527 w 4032385"/>
              <a:gd name="connsiteY208" fmla="*/ 356563 h 842974"/>
              <a:gd name="connsiteX209" fmla="*/ 3010341 w 4032385"/>
              <a:gd name="connsiteY209" fmla="*/ 367963 h 842974"/>
              <a:gd name="connsiteX210" fmla="*/ 2990321 w 4032385"/>
              <a:gd name="connsiteY210" fmla="*/ 357910 h 842974"/>
              <a:gd name="connsiteX211" fmla="*/ 2970112 w 4032385"/>
              <a:gd name="connsiteY211" fmla="*/ 354392 h 842974"/>
              <a:gd name="connsiteX212" fmla="*/ 2946720 w 4032385"/>
              <a:gd name="connsiteY212" fmla="*/ 361808 h 842974"/>
              <a:gd name="connsiteX213" fmla="*/ 2939091 w 4032385"/>
              <a:gd name="connsiteY213" fmla="*/ 380017 h 842974"/>
              <a:gd name="connsiteX214" fmla="*/ 2949691 w 4032385"/>
              <a:gd name="connsiteY214" fmla="*/ 397993 h 842974"/>
              <a:gd name="connsiteX215" fmla="*/ 2977802 w 4032385"/>
              <a:gd name="connsiteY215" fmla="*/ 408445 h 842974"/>
              <a:gd name="connsiteX216" fmla="*/ 3015567 w 4032385"/>
              <a:gd name="connsiteY216" fmla="*/ 424987 h 842974"/>
              <a:gd name="connsiteX217" fmla="*/ 3032384 w 4032385"/>
              <a:gd name="connsiteY217" fmla="*/ 460749 h 842974"/>
              <a:gd name="connsiteX218" fmla="*/ 3015819 w 4032385"/>
              <a:gd name="connsiteY218" fmla="*/ 499863 h 842974"/>
              <a:gd name="connsiteX219" fmla="*/ 2969079 w 4032385"/>
              <a:gd name="connsiteY219" fmla="*/ 515330 h 842974"/>
              <a:gd name="connsiteX220" fmla="*/ 2932390 w 4032385"/>
              <a:gd name="connsiteY220" fmla="*/ 509219 h 842974"/>
              <a:gd name="connsiteX221" fmla="*/ 2905520 w 4032385"/>
              <a:gd name="connsiteY221" fmla="*/ 494825 h 842974"/>
              <a:gd name="connsiteX222" fmla="*/ 2919872 w 4032385"/>
              <a:gd name="connsiteY222" fmla="*/ 472024 h 842974"/>
              <a:gd name="connsiteX223" fmla="*/ 2943642 w 4032385"/>
              <a:gd name="connsiteY223" fmla="*/ 484352 h 842974"/>
              <a:gd name="connsiteX224" fmla="*/ 2969353 w 4032385"/>
              <a:gd name="connsiteY224" fmla="*/ 489199 h 842974"/>
              <a:gd name="connsiteX225" fmla="*/ 2994745 w 4032385"/>
              <a:gd name="connsiteY225" fmla="*/ 481528 h 842974"/>
              <a:gd name="connsiteX226" fmla="*/ 3003429 w 4032385"/>
              <a:gd name="connsiteY226" fmla="*/ 462541 h 842974"/>
              <a:gd name="connsiteX227" fmla="*/ 2992723 w 4032385"/>
              <a:gd name="connsiteY227" fmla="*/ 444671 h 842974"/>
              <a:gd name="connsiteX228" fmla="*/ 2964716 w 4032385"/>
              <a:gd name="connsiteY228" fmla="*/ 434091 h 842974"/>
              <a:gd name="connsiteX229" fmla="*/ 2926848 w 4032385"/>
              <a:gd name="connsiteY229" fmla="*/ 417655 h 842974"/>
              <a:gd name="connsiteX230" fmla="*/ 2910135 w 4032385"/>
              <a:gd name="connsiteY230" fmla="*/ 381809 h 842974"/>
              <a:gd name="connsiteX231" fmla="*/ 2926025 w 4032385"/>
              <a:gd name="connsiteY231" fmla="*/ 343306 h 842974"/>
              <a:gd name="connsiteX232" fmla="*/ 2967329 w 4032385"/>
              <a:gd name="connsiteY232" fmla="*/ 328177 h 842974"/>
              <a:gd name="connsiteX233" fmla="*/ 175520 w 4032385"/>
              <a:gd name="connsiteY233" fmla="*/ 167447 h 842974"/>
              <a:gd name="connsiteX234" fmla="*/ 175520 w 4032385"/>
              <a:gd name="connsiteY234" fmla="*/ 344129 h 842974"/>
              <a:gd name="connsiteX235" fmla="*/ 375298 w 4032385"/>
              <a:gd name="connsiteY235" fmla="*/ 344129 h 842974"/>
              <a:gd name="connsiteX236" fmla="*/ 439383 w 4032385"/>
              <a:gd name="connsiteY236" fmla="*/ 318714 h 842974"/>
              <a:gd name="connsiteX237" fmla="*/ 465366 w 4032385"/>
              <a:gd name="connsiteY237" fmla="*/ 255219 h 842974"/>
              <a:gd name="connsiteX238" fmla="*/ 439383 w 4032385"/>
              <a:gd name="connsiteY238" fmla="*/ 192273 h 842974"/>
              <a:gd name="connsiteX239" fmla="*/ 375298 w 4032385"/>
              <a:gd name="connsiteY239" fmla="*/ 167447 h 842974"/>
              <a:gd name="connsiteX240" fmla="*/ 2340453 w 4032385"/>
              <a:gd name="connsiteY240" fmla="*/ 118368 h 842974"/>
              <a:gd name="connsiteX241" fmla="*/ 2340453 w 4032385"/>
              <a:gd name="connsiteY241" fmla="*/ 171157 h 842974"/>
              <a:gd name="connsiteX242" fmla="*/ 2387090 w 4032385"/>
              <a:gd name="connsiteY242" fmla="*/ 171157 h 842974"/>
              <a:gd name="connsiteX243" fmla="*/ 2407130 w 4032385"/>
              <a:gd name="connsiteY243" fmla="*/ 163445 h 842974"/>
              <a:gd name="connsiteX244" fmla="*/ 2415033 w 4032385"/>
              <a:gd name="connsiteY244" fmla="*/ 144710 h 842974"/>
              <a:gd name="connsiteX245" fmla="*/ 2407130 w 4032385"/>
              <a:gd name="connsiteY245" fmla="*/ 125997 h 842974"/>
              <a:gd name="connsiteX246" fmla="*/ 2387784 w 4032385"/>
              <a:gd name="connsiteY246" fmla="*/ 118368 h 842974"/>
              <a:gd name="connsiteX247" fmla="*/ 2387448 w 4032385"/>
              <a:gd name="connsiteY247" fmla="*/ 118368 h 842974"/>
              <a:gd name="connsiteX248" fmla="*/ 2387090 w 4032385"/>
              <a:gd name="connsiteY248" fmla="*/ 118368 h 842974"/>
              <a:gd name="connsiteX249" fmla="*/ 2340453 w 4032385"/>
              <a:gd name="connsiteY249" fmla="*/ 43008 h 842974"/>
              <a:gd name="connsiteX250" fmla="*/ 2340453 w 4032385"/>
              <a:gd name="connsiteY250" fmla="*/ 93248 h 842974"/>
              <a:gd name="connsiteX251" fmla="*/ 2382494 w 4032385"/>
              <a:gd name="connsiteY251" fmla="*/ 93248 h 842974"/>
              <a:gd name="connsiteX252" fmla="*/ 2401103 w 4032385"/>
              <a:gd name="connsiteY252" fmla="*/ 86062 h 842974"/>
              <a:gd name="connsiteX253" fmla="*/ 2401103 w 4032385"/>
              <a:gd name="connsiteY253" fmla="*/ 50194 h 842974"/>
              <a:gd name="connsiteX254" fmla="*/ 2383127 w 4032385"/>
              <a:gd name="connsiteY254" fmla="*/ 43008 h 842974"/>
              <a:gd name="connsiteX255" fmla="*/ 2382811 w 4032385"/>
              <a:gd name="connsiteY255" fmla="*/ 43008 h 842974"/>
              <a:gd name="connsiteX256" fmla="*/ 2382494 w 4032385"/>
              <a:gd name="connsiteY256" fmla="*/ 43008 h 842974"/>
              <a:gd name="connsiteX257" fmla="*/ 3103717 w 4032385"/>
              <a:gd name="connsiteY257" fmla="*/ 40459 h 842974"/>
              <a:gd name="connsiteX258" fmla="*/ 3057672 w 4032385"/>
              <a:gd name="connsiteY258" fmla="*/ 59825 h 842974"/>
              <a:gd name="connsiteX259" fmla="*/ 3057672 w 4032385"/>
              <a:gd name="connsiteY259" fmla="*/ 154340 h 842974"/>
              <a:gd name="connsiteX260" fmla="*/ 3103653 w 4032385"/>
              <a:gd name="connsiteY260" fmla="*/ 173728 h 842974"/>
              <a:gd name="connsiteX261" fmla="*/ 3149847 w 4032385"/>
              <a:gd name="connsiteY261" fmla="*/ 154444 h 842974"/>
              <a:gd name="connsiteX262" fmla="*/ 3149743 w 4032385"/>
              <a:gd name="connsiteY262" fmla="*/ 59825 h 842974"/>
              <a:gd name="connsiteX263" fmla="*/ 3103717 w 4032385"/>
              <a:gd name="connsiteY263" fmla="*/ 40459 h 842974"/>
              <a:gd name="connsiteX264" fmla="*/ 2572073 w 4032385"/>
              <a:gd name="connsiteY264" fmla="*/ 40459 h 842974"/>
              <a:gd name="connsiteX265" fmla="*/ 2526027 w 4032385"/>
              <a:gd name="connsiteY265" fmla="*/ 59825 h 842974"/>
              <a:gd name="connsiteX266" fmla="*/ 2526027 w 4032385"/>
              <a:gd name="connsiteY266" fmla="*/ 154340 h 842974"/>
              <a:gd name="connsiteX267" fmla="*/ 2572011 w 4032385"/>
              <a:gd name="connsiteY267" fmla="*/ 173728 h 842974"/>
              <a:gd name="connsiteX268" fmla="*/ 2618204 w 4032385"/>
              <a:gd name="connsiteY268" fmla="*/ 154444 h 842974"/>
              <a:gd name="connsiteX269" fmla="*/ 2618120 w 4032385"/>
              <a:gd name="connsiteY269" fmla="*/ 59825 h 842974"/>
              <a:gd name="connsiteX270" fmla="*/ 2572073 w 4032385"/>
              <a:gd name="connsiteY270" fmla="*/ 40459 h 842974"/>
              <a:gd name="connsiteX271" fmla="*/ 3239241 w 4032385"/>
              <a:gd name="connsiteY271" fmla="*/ 17383 h 842974"/>
              <a:gd name="connsiteX272" fmla="*/ 3274857 w 4032385"/>
              <a:gd name="connsiteY272" fmla="*/ 17383 h 842974"/>
              <a:gd name="connsiteX273" fmla="*/ 3316772 w 4032385"/>
              <a:gd name="connsiteY273" fmla="*/ 85177 h 842974"/>
              <a:gd name="connsiteX274" fmla="*/ 3358687 w 4032385"/>
              <a:gd name="connsiteY274" fmla="*/ 152971 h 842974"/>
              <a:gd name="connsiteX275" fmla="*/ 3358687 w 4032385"/>
              <a:gd name="connsiteY275" fmla="*/ 17383 h 842974"/>
              <a:gd name="connsiteX276" fmla="*/ 3386356 w 4032385"/>
              <a:gd name="connsiteY276" fmla="*/ 17383 h 842974"/>
              <a:gd name="connsiteX277" fmla="*/ 3386356 w 4032385"/>
              <a:gd name="connsiteY277" fmla="*/ 196804 h 842974"/>
              <a:gd name="connsiteX278" fmla="*/ 3352786 w 4032385"/>
              <a:gd name="connsiteY278" fmla="*/ 196804 h 842974"/>
              <a:gd name="connsiteX279" fmla="*/ 3309838 w 4032385"/>
              <a:gd name="connsiteY279" fmla="*/ 127344 h 842974"/>
              <a:gd name="connsiteX280" fmla="*/ 3266912 w 4032385"/>
              <a:gd name="connsiteY280" fmla="*/ 57887 h 842974"/>
              <a:gd name="connsiteX281" fmla="*/ 3266912 w 4032385"/>
              <a:gd name="connsiteY281" fmla="*/ 196804 h 842974"/>
              <a:gd name="connsiteX282" fmla="*/ 3239241 w 4032385"/>
              <a:gd name="connsiteY282" fmla="*/ 196804 h 842974"/>
              <a:gd name="connsiteX283" fmla="*/ 2849255 w 4032385"/>
              <a:gd name="connsiteY283" fmla="*/ 17383 h 842974"/>
              <a:gd name="connsiteX284" fmla="*/ 2990995 w 4032385"/>
              <a:gd name="connsiteY284" fmla="*/ 17383 h 842974"/>
              <a:gd name="connsiteX285" fmla="*/ 2990995 w 4032385"/>
              <a:gd name="connsiteY285" fmla="*/ 44041 h 842974"/>
              <a:gd name="connsiteX286" fmla="*/ 2934602 w 4032385"/>
              <a:gd name="connsiteY286" fmla="*/ 44041 h 842974"/>
              <a:gd name="connsiteX287" fmla="*/ 2934602 w 4032385"/>
              <a:gd name="connsiteY287" fmla="*/ 196804 h 842974"/>
              <a:gd name="connsiteX288" fmla="*/ 2905393 w 4032385"/>
              <a:gd name="connsiteY288" fmla="*/ 196804 h 842974"/>
              <a:gd name="connsiteX289" fmla="*/ 2905393 w 4032385"/>
              <a:gd name="connsiteY289" fmla="*/ 44041 h 842974"/>
              <a:gd name="connsiteX290" fmla="*/ 2849255 w 4032385"/>
              <a:gd name="connsiteY290" fmla="*/ 44041 h 842974"/>
              <a:gd name="connsiteX291" fmla="*/ 2311499 w 4032385"/>
              <a:gd name="connsiteY291" fmla="*/ 17383 h 842974"/>
              <a:gd name="connsiteX292" fmla="*/ 2382727 w 4032385"/>
              <a:gd name="connsiteY292" fmla="*/ 17383 h 842974"/>
              <a:gd name="connsiteX293" fmla="*/ 2422113 w 4032385"/>
              <a:gd name="connsiteY293" fmla="*/ 30974 h 842974"/>
              <a:gd name="connsiteX294" fmla="*/ 2437856 w 4032385"/>
              <a:gd name="connsiteY294" fmla="*/ 65325 h 842974"/>
              <a:gd name="connsiteX295" fmla="*/ 2432124 w 4032385"/>
              <a:gd name="connsiteY295" fmla="*/ 86356 h 842974"/>
              <a:gd name="connsiteX296" fmla="*/ 2416571 w 4032385"/>
              <a:gd name="connsiteY296" fmla="*/ 101445 h 842974"/>
              <a:gd name="connsiteX297" fmla="*/ 2437202 w 4032385"/>
              <a:gd name="connsiteY297" fmla="*/ 119295 h 842974"/>
              <a:gd name="connsiteX298" fmla="*/ 2444768 w 4032385"/>
              <a:gd name="connsiteY298" fmla="*/ 145026 h 842974"/>
              <a:gd name="connsiteX299" fmla="*/ 2428646 w 4032385"/>
              <a:gd name="connsiteY299" fmla="*/ 181777 h 842974"/>
              <a:gd name="connsiteX300" fmla="*/ 2387364 w 4032385"/>
              <a:gd name="connsiteY300" fmla="*/ 196804 h 842974"/>
              <a:gd name="connsiteX301" fmla="*/ 2311499 w 4032385"/>
              <a:gd name="connsiteY301" fmla="*/ 196804 h 842974"/>
              <a:gd name="connsiteX302" fmla="*/ 3103717 w 4032385"/>
              <a:gd name="connsiteY302" fmla="*/ 13721 h 842974"/>
              <a:gd name="connsiteX303" fmla="*/ 3170646 w 4032385"/>
              <a:gd name="connsiteY303" fmla="*/ 40986 h 842974"/>
              <a:gd name="connsiteX304" fmla="*/ 3198233 w 4032385"/>
              <a:gd name="connsiteY304" fmla="*/ 107094 h 842974"/>
              <a:gd name="connsiteX305" fmla="*/ 3170646 w 4032385"/>
              <a:gd name="connsiteY305" fmla="*/ 173179 h 842974"/>
              <a:gd name="connsiteX306" fmla="*/ 3103653 w 4032385"/>
              <a:gd name="connsiteY306" fmla="*/ 200638 h 842974"/>
              <a:gd name="connsiteX307" fmla="*/ 3036789 w 4032385"/>
              <a:gd name="connsiteY307" fmla="*/ 173179 h 842974"/>
              <a:gd name="connsiteX308" fmla="*/ 3009330 w 4032385"/>
              <a:gd name="connsiteY308" fmla="*/ 107094 h 842974"/>
              <a:gd name="connsiteX309" fmla="*/ 3036789 w 4032385"/>
              <a:gd name="connsiteY309" fmla="*/ 40986 h 842974"/>
              <a:gd name="connsiteX310" fmla="*/ 3103717 w 4032385"/>
              <a:gd name="connsiteY310" fmla="*/ 13721 h 842974"/>
              <a:gd name="connsiteX311" fmla="*/ 2572074 w 4032385"/>
              <a:gd name="connsiteY311" fmla="*/ 13721 h 842974"/>
              <a:gd name="connsiteX312" fmla="*/ 2639004 w 4032385"/>
              <a:gd name="connsiteY312" fmla="*/ 40986 h 842974"/>
              <a:gd name="connsiteX313" fmla="*/ 2666588 w 4032385"/>
              <a:gd name="connsiteY313" fmla="*/ 107094 h 842974"/>
              <a:gd name="connsiteX314" fmla="*/ 2639004 w 4032385"/>
              <a:gd name="connsiteY314" fmla="*/ 173179 h 842974"/>
              <a:gd name="connsiteX315" fmla="*/ 2572011 w 4032385"/>
              <a:gd name="connsiteY315" fmla="*/ 200638 h 842974"/>
              <a:gd name="connsiteX316" fmla="*/ 2505144 w 4032385"/>
              <a:gd name="connsiteY316" fmla="*/ 173179 h 842974"/>
              <a:gd name="connsiteX317" fmla="*/ 2477685 w 4032385"/>
              <a:gd name="connsiteY317" fmla="*/ 107094 h 842974"/>
              <a:gd name="connsiteX318" fmla="*/ 2505144 w 4032385"/>
              <a:gd name="connsiteY318" fmla="*/ 40986 h 842974"/>
              <a:gd name="connsiteX319" fmla="*/ 2572074 w 4032385"/>
              <a:gd name="connsiteY319" fmla="*/ 13721 h 842974"/>
              <a:gd name="connsiteX320" fmla="*/ 2759628 w 4032385"/>
              <a:gd name="connsiteY320" fmla="*/ 13547 h 842974"/>
              <a:gd name="connsiteX321" fmla="*/ 2789468 w 4032385"/>
              <a:gd name="connsiteY321" fmla="*/ 18162 h 842974"/>
              <a:gd name="connsiteX322" fmla="*/ 2813955 w 4032385"/>
              <a:gd name="connsiteY322" fmla="*/ 30470 h 842974"/>
              <a:gd name="connsiteX323" fmla="*/ 2806769 w 4032385"/>
              <a:gd name="connsiteY323" fmla="*/ 41871 h 842974"/>
              <a:gd name="connsiteX324" fmla="*/ 2799605 w 4032385"/>
              <a:gd name="connsiteY324" fmla="*/ 53271 h 842974"/>
              <a:gd name="connsiteX325" fmla="*/ 2779585 w 4032385"/>
              <a:gd name="connsiteY325" fmla="*/ 43198 h 842974"/>
              <a:gd name="connsiteX326" fmla="*/ 2759354 w 4032385"/>
              <a:gd name="connsiteY326" fmla="*/ 39678 h 842974"/>
              <a:gd name="connsiteX327" fmla="*/ 2735984 w 4032385"/>
              <a:gd name="connsiteY327" fmla="*/ 47119 h 842974"/>
              <a:gd name="connsiteX328" fmla="*/ 2728355 w 4032385"/>
              <a:gd name="connsiteY328" fmla="*/ 65325 h 842974"/>
              <a:gd name="connsiteX329" fmla="*/ 2738955 w 4032385"/>
              <a:gd name="connsiteY329" fmla="*/ 83281 h 842974"/>
              <a:gd name="connsiteX330" fmla="*/ 2767067 w 4032385"/>
              <a:gd name="connsiteY330" fmla="*/ 93775 h 842974"/>
              <a:gd name="connsiteX331" fmla="*/ 2804831 w 4032385"/>
              <a:gd name="connsiteY331" fmla="*/ 110297 h 842974"/>
              <a:gd name="connsiteX332" fmla="*/ 2821648 w 4032385"/>
              <a:gd name="connsiteY332" fmla="*/ 146057 h 842974"/>
              <a:gd name="connsiteX333" fmla="*/ 2805083 w 4032385"/>
              <a:gd name="connsiteY333" fmla="*/ 185171 h 842974"/>
              <a:gd name="connsiteX334" fmla="*/ 2758343 w 4032385"/>
              <a:gd name="connsiteY334" fmla="*/ 200638 h 842974"/>
              <a:gd name="connsiteX335" fmla="*/ 2721654 w 4032385"/>
              <a:gd name="connsiteY335" fmla="*/ 194505 h 842974"/>
              <a:gd name="connsiteX336" fmla="*/ 2694764 w 4032385"/>
              <a:gd name="connsiteY336" fmla="*/ 180133 h 842974"/>
              <a:gd name="connsiteX337" fmla="*/ 2701950 w 4032385"/>
              <a:gd name="connsiteY337" fmla="*/ 168732 h 842974"/>
              <a:gd name="connsiteX338" fmla="*/ 2709114 w 4032385"/>
              <a:gd name="connsiteY338" fmla="*/ 157332 h 842974"/>
              <a:gd name="connsiteX339" fmla="*/ 2732906 w 4032385"/>
              <a:gd name="connsiteY339" fmla="*/ 169659 h 842974"/>
              <a:gd name="connsiteX340" fmla="*/ 2758595 w 4032385"/>
              <a:gd name="connsiteY340" fmla="*/ 174487 h 842974"/>
              <a:gd name="connsiteX341" fmla="*/ 2783990 w 4032385"/>
              <a:gd name="connsiteY341" fmla="*/ 166836 h 842974"/>
              <a:gd name="connsiteX342" fmla="*/ 2792671 w 4032385"/>
              <a:gd name="connsiteY342" fmla="*/ 147849 h 842974"/>
              <a:gd name="connsiteX343" fmla="*/ 2781987 w 4032385"/>
              <a:gd name="connsiteY343" fmla="*/ 129957 h 842974"/>
              <a:gd name="connsiteX344" fmla="*/ 2753980 w 4032385"/>
              <a:gd name="connsiteY344" fmla="*/ 119379 h 842974"/>
              <a:gd name="connsiteX345" fmla="*/ 2716112 w 4032385"/>
              <a:gd name="connsiteY345" fmla="*/ 102963 h 842974"/>
              <a:gd name="connsiteX346" fmla="*/ 2699399 w 4032385"/>
              <a:gd name="connsiteY346" fmla="*/ 67095 h 842974"/>
              <a:gd name="connsiteX347" fmla="*/ 2715289 w 4032385"/>
              <a:gd name="connsiteY347" fmla="*/ 28594 h 842974"/>
              <a:gd name="connsiteX348" fmla="*/ 2759628 w 4032385"/>
              <a:gd name="connsiteY348" fmla="*/ 13547 h 842974"/>
              <a:gd name="connsiteX349" fmla="*/ 969973 w 4032385"/>
              <a:gd name="connsiteY349" fmla="*/ 17 h 842974"/>
              <a:gd name="connsiteX350" fmla="*/ 1103348 w 4032385"/>
              <a:gd name="connsiteY350" fmla="*/ 18058 h 842974"/>
              <a:gd name="connsiteX351" fmla="*/ 1215924 w 4032385"/>
              <a:gd name="connsiteY351" fmla="*/ 71606 h 842974"/>
              <a:gd name="connsiteX352" fmla="*/ 1171459 w 4032385"/>
              <a:gd name="connsiteY352" fmla="*/ 141464 h 842974"/>
              <a:gd name="connsiteX353" fmla="*/ 1127015 w 4032385"/>
              <a:gd name="connsiteY353" fmla="*/ 211322 h 842974"/>
              <a:gd name="connsiteX354" fmla="*/ 1055427 w 4032385"/>
              <a:gd name="connsiteY354" fmla="*/ 174232 h 842974"/>
              <a:gd name="connsiteX355" fmla="*/ 969973 w 4032385"/>
              <a:gd name="connsiteY355" fmla="*/ 160515 h 842974"/>
              <a:gd name="connsiteX356" fmla="*/ 782756 w 4032385"/>
              <a:gd name="connsiteY356" fmla="*/ 238909 h 842974"/>
              <a:gd name="connsiteX357" fmla="*/ 705543 w 4032385"/>
              <a:gd name="connsiteY357" fmla="*/ 421279 h 842974"/>
              <a:gd name="connsiteX358" fmla="*/ 782756 w 4032385"/>
              <a:gd name="connsiteY358" fmla="*/ 603649 h 842974"/>
              <a:gd name="connsiteX359" fmla="*/ 969973 w 4032385"/>
              <a:gd name="connsiteY359" fmla="*/ 681306 h 842974"/>
              <a:gd name="connsiteX360" fmla="*/ 1069569 w 4032385"/>
              <a:gd name="connsiteY360" fmla="*/ 661666 h 842974"/>
              <a:gd name="connsiteX361" fmla="*/ 1153567 w 4032385"/>
              <a:gd name="connsiteY361" fmla="*/ 603945 h 842974"/>
              <a:gd name="connsiteX362" fmla="*/ 1242773 w 4032385"/>
              <a:gd name="connsiteY362" fmla="*/ 384254 h 842974"/>
              <a:gd name="connsiteX363" fmla="*/ 1375283 w 4032385"/>
              <a:gd name="connsiteY363" fmla="*/ 121255 h 842974"/>
              <a:gd name="connsiteX364" fmla="*/ 1508067 w 4032385"/>
              <a:gd name="connsiteY364" fmla="*/ 32492 h 842974"/>
              <a:gd name="connsiteX365" fmla="*/ 1678975 w 4032385"/>
              <a:gd name="connsiteY365" fmla="*/ 17 h 842974"/>
              <a:gd name="connsiteX366" fmla="*/ 1812328 w 4032385"/>
              <a:gd name="connsiteY366" fmla="*/ 19217 h 842974"/>
              <a:gd name="connsiteX367" fmla="*/ 1924924 w 4032385"/>
              <a:gd name="connsiteY367" fmla="*/ 73922 h 842974"/>
              <a:gd name="connsiteX368" fmla="*/ 1881049 w 4032385"/>
              <a:gd name="connsiteY368" fmla="*/ 143782 h 842974"/>
              <a:gd name="connsiteX369" fmla="*/ 1837151 w 4032385"/>
              <a:gd name="connsiteY369" fmla="*/ 213640 h 842974"/>
              <a:gd name="connsiteX370" fmla="*/ 1764406 w 4032385"/>
              <a:gd name="connsiteY370" fmla="*/ 175540 h 842974"/>
              <a:gd name="connsiteX371" fmla="*/ 1677815 w 4032385"/>
              <a:gd name="connsiteY371" fmla="*/ 161674 h 842974"/>
              <a:gd name="connsiteX372" fmla="*/ 1495359 w 4032385"/>
              <a:gd name="connsiteY372" fmla="*/ 238170 h 842974"/>
              <a:gd name="connsiteX373" fmla="*/ 1420317 w 4032385"/>
              <a:gd name="connsiteY373" fmla="*/ 420330 h 842974"/>
              <a:gd name="connsiteX374" fmla="*/ 1494642 w 4032385"/>
              <a:gd name="connsiteY374" fmla="*/ 605083 h 842974"/>
              <a:gd name="connsiteX375" fmla="*/ 1675497 w 4032385"/>
              <a:gd name="connsiteY375" fmla="*/ 682465 h 842974"/>
              <a:gd name="connsiteX376" fmla="*/ 1820419 w 4032385"/>
              <a:gd name="connsiteY376" fmla="*/ 632794 h 842974"/>
              <a:gd name="connsiteX377" fmla="*/ 1902985 w 4032385"/>
              <a:gd name="connsiteY377" fmla="*/ 506943 h 842974"/>
              <a:gd name="connsiteX378" fmla="*/ 1651261 w 4032385"/>
              <a:gd name="connsiteY378" fmla="*/ 506943 h 842974"/>
              <a:gd name="connsiteX379" fmla="*/ 1700911 w 4032385"/>
              <a:gd name="connsiteY379" fmla="*/ 428991 h 842974"/>
              <a:gd name="connsiteX380" fmla="*/ 1750561 w 4032385"/>
              <a:gd name="connsiteY380" fmla="*/ 351062 h 842974"/>
              <a:gd name="connsiteX381" fmla="*/ 2077348 w 4032385"/>
              <a:gd name="connsiteY381" fmla="*/ 351062 h 842974"/>
              <a:gd name="connsiteX382" fmla="*/ 2081521 w 4032385"/>
              <a:gd name="connsiteY382" fmla="*/ 385833 h 842974"/>
              <a:gd name="connsiteX383" fmla="*/ 2083123 w 4032385"/>
              <a:gd name="connsiteY383" fmla="*/ 421489 h 842974"/>
              <a:gd name="connsiteX384" fmla="*/ 1964035 w 4032385"/>
              <a:gd name="connsiteY384" fmla="*/ 719261 h 842974"/>
              <a:gd name="connsiteX385" fmla="*/ 1670881 w 4032385"/>
              <a:gd name="connsiteY385" fmla="*/ 842961 h 842974"/>
              <a:gd name="connsiteX386" fmla="*/ 1465203 w 4032385"/>
              <a:gd name="connsiteY386" fmla="*/ 793459 h 842974"/>
              <a:gd name="connsiteX387" fmla="*/ 1317540 w 4032385"/>
              <a:gd name="connsiteY387" fmla="*/ 661666 h 842974"/>
              <a:gd name="connsiteX388" fmla="*/ 1168571 w 4032385"/>
              <a:gd name="connsiteY388" fmla="*/ 793882 h 842974"/>
              <a:gd name="connsiteX389" fmla="*/ 964201 w 4032385"/>
              <a:gd name="connsiteY389" fmla="*/ 842961 h 842974"/>
              <a:gd name="connsiteX390" fmla="*/ 786360 w 4032385"/>
              <a:gd name="connsiteY390" fmla="*/ 805135 h 842974"/>
              <a:gd name="connsiteX391" fmla="*/ 646641 w 4032385"/>
              <a:gd name="connsiteY391" fmla="*/ 703245 h 842974"/>
              <a:gd name="connsiteX392" fmla="*/ 555141 w 4032385"/>
              <a:gd name="connsiteY392" fmla="*/ 791709 h 842974"/>
              <a:gd name="connsiteX393" fmla="*/ 416856 w 4032385"/>
              <a:gd name="connsiteY393" fmla="*/ 825640 h 842974"/>
              <a:gd name="connsiteX394" fmla="*/ 0 w 4032385"/>
              <a:gd name="connsiteY394" fmla="*/ 825640 h 842974"/>
              <a:gd name="connsiteX395" fmla="*/ 0 w 4032385"/>
              <a:gd name="connsiteY395" fmla="*/ 17341 h 842974"/>
              <a:gd name="connsiteX396" fmla="*/ 377596 w 4032385"/>
              <a:gd name="connsiteY396" fmla="*/ 17341 h 842974"/>
              <a:gd name="connsiteX397" fmla="*/ 534216 w 4032385"/>
              <a:gd name="connsiteY397" fmla="*/ 61807 h 842974"/>
              <a:gd name="connsiteX398" fmla="*/ 622408 w 4032385"/>
              <a:gd name="connsiteY398" fmla="*/ 175540 h 842974"/>
              <a:gd name="connsiteX399" fmla="*/ 770196 w 4032385"/>
              <a:gd name="connsiteY399" fmla="*/ 48382 h 842974"/>
              <a:gd name="connsiteX400" fmla="*/ 969973 w 4032385"/>
              <a:gd name="connsiteY400" fmla="*/ 17 h 84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4032385" h="842974">
                <a:moveTo>
                  <a:pt x="3149701" y="673171"/>
                </a:moveTo>
                <a:lnTo>
                  <a:pt x="3149701" y="738035"/>
                </a:lnTo>
                <a:lnTo>
                  <a:pt x="3190456" y="738035"/>
                </a:lnTo>
                <a:cubicBezTo>
                  <a:pt x="3199096" y="738290"/>
                  <a:pt x="3207483" y="735170"/>
                  <a:pt x="3213869" y="729354"/>
                </a:cubicBezTo>
                <a:cubicBezTo>
                  <a:pt x="3226322" y="716119"/>
                  <a:pt x="3226322" y="695236"/>
                  <a:pt x="3213869" y="682023"/>
                </a:cubicBezTo>
                <a:cubicBezTo>
                  <a:pt x="3207525" y="676142"/>
                  <a:pt x="3199118" y="672961"/>
                  <a:pt x="3190456" y="673171"/>
                </a:cubicBezTo>
                <a:close/>
                <a:moveTo>
                  <a:pt x="2552665" y="673171"/>
                </a:moveTo>
                <a:lnTo>
                  <a:pt x="2552665" y="735465"/>
                </a:lnTo>
                <a:lnTo>
                  <a:pt x="2596244" y="735465"/>
                </a:lnTo>
                <a:cubicBezTo>
                  <a:pt x="2604569" y="735719"/>
                  <a:pt x="2612662" y="732745"/>
                  <a:pt x="2618835" y="727161"/>
                </a:cubicBezTo>
                <a:cubicBezTo>
                  <a:pt x="2624842" y="721177"/>
                  <a:pt x="2628087" y="712937"/>
                  <a:pt x="2627771" y="704444"/>
                </a:cubicBezTo>
                <a:cubicBezTo>
                  <a:pt x="2628045" y="695952"/>
                  <a:pt x="2624800" y="687733"/>
                  <a:pt x="2618835" y="681706"/>
                </a:cubicBezTo>
                <a:cubicBezTo>
                  <a:pt x="2612724" y="676016"/>
                  <a:pt x="2604589" y="672941"/>
                  <a:pt x="2596244" y="673171"/>
                </a:cubicBezTo>
                <a:close/>
                <a:moveTo>
                  <a:pt x="2785970" y="669841"/>
                </a:moveTo>
                <a:cubicBezTo>
                  <a:pt x="2768646" y="669841"/>
                  <a:pt x="2752042" y="676839"/>
                  <a:pt x="2739924" y="689229"/>
                </a:cubicBezTo>
                <a:cubicBezTo>
                  <a:pt x="2714910" y="715550"/>
                  <a:pt x="2714910" y="757423"/>
                  <a:pt x="2739924" y="783745"/>
                </a:cubicBezTo>
                <a:cubicBezTo>
                  <a:pt x="2751978" y="796179"/>
                  <a:pt x="2768584" y="803174"/>
                  <a:pt x="2785906" y="803132"/>
                </a:cubicBezTo>
                <a:cubicBezTo>
                  <a:pt x="2803271" y="803216"/>
                  <a:pt x="2819962" y="796240"/>
                  <a:pt x="2832099" y="783829"/>
                </a:cubicBezTo>
                <a:cubicBezTo>
                  <a:pt x="2857200" y="757487"/>
                  <a:pt x="2857158" y="715530"/>
                  <a:pt x="2832015" y="689229"/>
                </a:cubicBezTo>
                <a:cubicBezTo>
                  <a:pt x="2819898" y="676839"/>
                  <a:pt x="2803293" y="669841"/>
                  <a:pt x="2785970" y="669841"/>
                </a:cubicBezTo>
                <a:close/>
                <a:moveTo>
                  <a:pt x="3120744" y="646767"/>
                </a:moveTo>
                <a:lnTo>
                  <a:pt x="3190456" y="646767"/>
                </a:lnTo>
                <a:cubicBezTo>
                  <a:pt x="3207251" y="646239"/>
                  <a:pt x="3223583" y="652310"/>
                  <a:pt x="3235953" y="663688"/>
                </a:cubicBezTo>
                <a:cubicBezTo>
                  <a:pt x="3258525" y="686554"/>
                  <a:pt x="3258525" y="723874"/>
                  <a:pt x="3235953" y="746739"/>
                </a:cubicBezTo>
                <a:cubicBezTo>
                  <a:pt x="3223583" y="758120"/>
                  <a:pt x="3207251" y="764189"/>
                  <a:pt x="3190456" y="763662"/>
                </a:cubicBezTo>
                <a:lnTo>
                  <a:pt x="3149701" y="763662"/>
                </a:lnTo>
                <a:lnTo>
                  <a:pt x="3149701" y="826186"/>
                </a:lnTo>
                <a:lnTo>
                  <a:pt x="3120744" y="826186"/>
                </a:lnTo>
                <a:close/>
                <a:moveTo>
                  <a:pt x="2919303" y="646767"/>
                </a:moveTo>
                <a:lnTo>
                  <a:pt x="2948257" y="646767"/>
                </a:lnTo>
                <a:lnTo>
                  <a:pt x="2948257" y="756728"/>
                </a:lnTo>
                <a:cubicBezTo>
                  <a:pt x="2947983" y="768950"/>
                  <a:pt x="2952452" y="780837"/>
                  <a:pt x="2960691" y="789855"/>
                </a:cubicBezTo>
                <a:cubicBezTo>
                  <a:pt x="2978898" y="807770"/>
                  <a:pt x="3008529" y="807770"/>
                  <a:pt x="3026757" y="789855"/>
                </a:cubicBezTo>
                <a:cubicBezTo>
                  <a:pt x="3034997" y="780837"/>
                  <a:pt x="3039486" y="768972"/>
                  <a:pt x="3039233" y="756728"/>
                </a:cubicBezTo>
                <a:lnTo>
                  <a:pt x="3039233" y="646767"/>
                </a:lnTo>
                <a:lnTo>
                  <a:pt x="3067681" y="646767"/>
                </a:lnTo>
                <a:lnTo>
                  <a:pt x="3067681" y="757003"/>
                </a:lnTo>
                <a:cubicBezTo>
                  <a:pt x="3068020" y="776536"/>
                  <a:pt x="3060411" y="795420"/>
                  <a:pt x="3046607" y="809285"/>
                </a:cubicBezTo>
                <a:cubicBezTo>
                  <a:pt x="3016810" y="836808"/>
                  <a:pt x="2970300" y="836808"/>
                  <a:pt x="2940503" y="809285"/>
                </a:cubicBezTo>
                <a:cubicBezTo>
                  <a:pt x="2926637" y="795462"/>
                  <a:pt x="2918987" y="776578"/>
                  <a:pt x="2919303" y="757003"/>
                </a:cubicBezTo>
                <a:close/>
                <a:moveTo>
                  <a:pt x="2523708" y="646767"/>
                </a:moveTo>
                <a:lnTo>
                  <a:pt x="2596244" y="646767"/>
                </a:lnTo>
                <a:cubicBezTo>
                  <a:pt x="2612724" y="646219"/>
                  <a:pt x="2628804" y="652203"/>
                  <a:pt x="2640900" y="663414"/>
                </a:cubicBezTo>
                <a:cubicBezTo>
                  <a:pt x="2660455" y="683877"/>
                  <a:pt x="2662984" y="715508"/>
                  <a:pt x="2646926" y="738816"/>
                </a:cubicBezTo>
                <a:cubicBezTo>
                  <a:pt x="2639614" y="748383"/>
                  <a:pt x="2629224" y="755169"/>
                  <a:pt x="2617529" y="758014"/>
                </a:cubicBezTo>
                <a:lnTo>
                  <a:pt x="2638919" y="792090"/>
                </a:lnTo>
                <a:lnTo>
                  <a:pt x="2660329" y="826186"/>
                </a:lnTo>
                <a:lnTo>
                  <a:pt x="2626738" y="826186"/>
                </a:lnTo>
                <a:lnTo>
                  <a:pt x="2606888" y="793776"/>
                </a:lnTo>
                <a:lnTo>
                  <a:pt x="2587015" y="761344"/>
                </a:lnTo>
                <a:lnTo>
                  <a:pt x="2552665" y="761344"/>
                </a:lnTo>
                <a:lnTo>
                  <a:pt x="2552665" y="826186"/>
                </a:lnTo>
                <a:lnTo>
                  <a:pt x="2523708" y="826186"/>
                </a:lnTo>
                <a:close/>
                <a:moveTo>
                  <a:pt x="2785971" y="643110"/>
                </a:moveTo>
                <a:cubicBezTo>
                  <a:pt x="2810216" y="643110"/>
                  <a:pt x="2834460" y="652203"/>
                  <a:pt x="2852899" y="670390"/>
                </a:cubicBezTo>
                <a:cubicBezTo>
                  <a:pt x="2870539" y="687859"/>
                  <a:pt x="2880486" y="711672"/>
                  <a:pt x="2880486" y="736498"/>
                </a:cubicBezTo>
                <a:cubicBezTo>
                  <a:pt x="2880486" y="761302"/>
                  <a:pt x="2870539" y="785114"/>
                  <a:pt x="2852899" y="802584"/>
                </a:cubicBezTo>
                <a:cubicBezTo>
                  <a:pt x="2835093" y="820243"/>
                  <a:pt x="2810984" y="830106"/>
                  <a:pt x="2785906" y="830042"/>
                </a:cubicBezTo>
                <a:cubicBezTo>
                  <a:pt x="2760872" y="830129"/>
                  <a:pt x="2736785" y="820243"/>
                  <a:pt x="2719041" y="802584"/>
                </a:cubicBezTo>
                <a:cubicBezTo>
                  <a:pt x="2701485" y="785072"/>
                  <a:pt x="2691582" y="761279"/>
                  <a:pt x="2691582" y="736498"/>
                </a:cubicBezTo>
                <a:cubicBezTo>
                  <a:pt x="2691582" y="711694"/>
                  <a:pt x="2701485" y="687901"/>
                  <a:pt x="2719041" y="670390"/>
                </a:cubicBezTo>
                <a:cubicBezTo>
                  <a:pt x="2737481" y="652203"/>
                  <a:pt x="2761726" y="643110"/>
                  <a:pt x="2785971" y="643110"/>
                </a:cubicBezTo>
                <a:close/>
                <a:moveTo>
                  <a:pt x="2396594" y="642931"/>
                </a:moveTo>
                <a:cubicBezTo>
                  <a:pt x="2406856" y="642867"/>
                  <a:pt x="2417099" y="644236"/>
                  <a:pt x="2426982" y="647040"/>
                </a:cubicBezTo>
                <a:cubicBezTo>
                  <a:pt x="2436297" y="649695"/>
                  <a:pt x="2445085" y="653951"/>
                  <a:pt x="2452965" y="659600"/>
                </a:cubicBezTo>
                <a:lnTo>
                  <a:pt x="2445401" y="671381"/>
                </a:lnTo>
                <a:lnTo>
                  <a:pt x="2437856" y="683160"/>
                </a:lnTo>
                <a:cubicBezTo>
                  <a:pt x="2432060" y="678693"/>
                  <a:pt x="2425507" y="675257"/>
                  <a:pt x="2418531" y="673045"/>
                </a:cubicBezTo>
                <a:cubicBezTo>
                  <a:pt x="2411345" y="670854"/>
                  <a:pt x="2403842" y="669779"/>
                  <a:pt x="2396320" y="669863"/>
                </a:cubicBezTo>
                <a:cubicBezTo>
                  <a:pt x="2379103" y="669737"/>
                  <a:pt x="2362580" y="676669"/>
                  <a:pt x="2350611" y="689041"/>
                </a:cubicBezTo>
                <a:cubicBezTo>
                  <a:pt x="2338451" y="701811"/>
                  <a:pt x="2331772" y="718860"/>
                  <a:pt x="2332002" y="736498"/>
                </a:cubicBezTo>
                <a:cubicBezTo>
                  <a:pt x="2331730" y="754073"/>
                  <a:pt x="2338199" y="771100"/>
                  <a:pt x="2350106" y="784061"/>
                </a:cubicBezTo>
                <a:cubicBezTo>
                  <a:pt x="2361801" y="796515"/>
                  <a:pt x="2378218" y="803533"/>
                  <a:pt x="2395309" y="803384"/>
                </a:cubicBezTo>
                <a:cubicBezTo>
                  <a:pt x="2409997" y="803827"/>
                  <a:pt x="2424327" y="798749"/>
                  <a:pt x="2435454" y="789161"/>
                </a:cubicBezTo>
                <a:cubicBezTo>
                  <a:pt x="2445611" y="779740"/>
                  <a:pt x="2452248" y="767118"/>
                  <a:pt x="2454251" y="753399"/>
                </a:cubicBezTo>
                <a:lnTo>
                  <a:pt x="2393265" y="753399"/>
                </a:lnTo>
                <a:lnTo>
                  <a:pt x="2401588" y="740332"/>
                </a:lnTo>
                <a:lnTo>
                  <a:pt x="2409911" y="727267"/>
                </a:lnTo>
                <a:lnTo>
                  <a:pt x="2481690" y="727267"/>
                </a:lnTo>
                <a:cubicBezTo>
                  <a:pt x="2482132" y="729144"/>
                  <a:pt x="2482448" y="731062"/>
                  <a:pt x="2482617" y="733000"/>
                </a:cubicBezTo>
                <a:cubicBezTo>
                  <a:pt x="2482827" y="735274"/>
                  <a:pt x="2482953" y="737761"/>
                  <a:pt x="2482953" y="740080"/>
                </a:cubicBezTo>
                <a:cubicBezTo>
                  <a:pt x="2483437" y="763808"/>
                  <a:pt x="2474672" y="786800"/>
                  <a:pt x="2458507" y="804185"/>
                </a:cubicBezTo>
                <a:cubicBezTo>
                  <a:pt x="2441839" y="821192"/>
                  <a:pt x="2418847" y="830549"/>
                  <a:pt x="2395054" y="830042"/>
                </a:cubicBezTo>
                <a:cubicBezTo>
                  <a:pt x="2370357" y="830191"/>
                  <a:pt x="2346606" y="820350"/>
                  <a:pt x="2329263" y="802774"/>
                </a:cubicBezTo>
                <a:cubicBezTo>
                  <a:pt x="2293565" y="766021"/>
                  <a:pt x="2293859" y="706594"/>
                  <a:pt x="2329938" y="670199"/>
                </a:cubicBezTo>
                <a:cubicBezTo>
                  <a:pt x="2347662" y="652646"/>
                  <a:pt x="2371642" y="642825"/>
                  <a:pt x="2396594" y="642931"/>
                </a:cubicBezTo>
                <a:close/>
                <a:moveTo>
                  <a:pt x="175520" y="491918"/>
                </a:moveTo>
                <a:lnTo>
                  <a:pt x="175520" y="675531"/>
                </a:lnTo>
                <a:lnTo>
                  <a:pt x="414560" y="675531"/>
                </a:lnTo>
                <a:cubicBezTo>
                  <a:pt x="439762" y="675722"/>
                  <a:pt x="464081" y="666155"/>
                  <a:pt x="482396" y="648832"/>
                </a:cubicBezTo>
                <a:cubicBezTo>
                  <a:pt x="500350" y="631721"/>
                  <a:pt x="510485" y="607948"/>
                  <a:pt x="510401" y="583146"/>
                </a:cubicBezTo>
                <a:cubicBezTo>
                  <a:pt x="510527" y="558511"/>
                  <a:pt x="500370" y="534886"/>
                  <a:pt x="482396" y="518049"/>
                </a:cubicBezTo>
                <a:cubicBezTo>
                  <a:pt x="463955" y="501022"/>
                  <a:pt x="439658" y="491666"/>
                  <a:pt x="414560" y="491918"/>
                </a:cubicBezTo>
                <a:close/>
                <a:moveTo>
                  <a:pt x="2577194" y="355151"/>
                </a:moveTo>
                <a:cubicBezTo>
                  <a:pt x="2559871" y="355151"/>
                  <a:pt x="2543244" y="362147"/>
                  <a:pt x="2531149" y="374539"/>
                </a:cubicBezTo>
                <a:cubicBezTo>
                  <a:pt x="2506135" y="400858"/>
                  <a:pt x="2506135" y="442711"/>
                  <a:pt x="2531149" y="469052"/>
                </a:cubicBezTo>
                <a:cubicBezTo>
                  <a:pt x="2543202" y="481464"/>
                  <a:pt x="2559809" y="488482"/>
                  <a:pt x="2577130" y="488420"/>
                </a:cubicBezTo>
                <a:cubicBezTo>
                  <a:pt x="2594496" y="488504"/>
                  <a:pt x="2611164" y="481548"/>
                  <a:pt x="2623324" y="469137"/>
                </a:cubicBezTo>
                <a:cubicBezTo>
                  <a:pt x="2648402" y="442795"/>
                  <a:pt x="2648360" y="400816"/>
                  <a:pt x="2623218" y="374539"/>
                </a:cubicBezTo>
                <a:cubicBezTo>
                  <a:pt x="2611122" y="362147"/>
                  <a:pt x="2594496" y="355151"/>
                  <a:pt x="2577194" y="355151"/>
                </a:cubicBezTo>
                <a:close/>
                <a:moveTo>
                  <a:pt x="3664168" y="332095"/>
                </a:moveTo>
                <a:lnTo>
                  <a:pt x="3699804" y="332095"/>
                </a:lnTo>
                <a:lnTo>
                  <a:pt x="3741699" y="399889"/>
                </a:lnTo>
                <a:lnTo>
                  <a:pt x="3783614" y="467683"/>
                </a:lnTo>
                <a:lnTo>
                  <a:pt x="3783614" y="332095"/>
                </a:lnTo>
                <a:lnTo>
                  <a:pt x="3811283" y="332095"/>
                </a:lnTo>
                <a:lnTo>
                  <a:pt x="3811283" y="511496"/>
                </a:lnTo>
                <a:lnTo>
                  <a:pt x="3777713" y="511496"/>
                </a:lnTo>
                <a:lnTo>
                  <a:pt x="3734788" y="442036"/>
                </a:lnTo>
                <a:lnTo>
                  <a:pt x="3691839" y="372599"/>
                </a:lnTo>
                <a:lnTo>
                  <a:pt x="3691839" y="511496"/>
                </a:lnTo>
                <a:lnTo>
                  <a:pt x="3664168" y="511496"/>
                </a:lnTo>
                <a:close/>
                <a:moveTo>
                  <a:pt x="3571276" y="332095"/>
                </a:moveTo>
                <a:lnTo>
                  <a:pt x="3600233" y="332095"/>
                </a:lnTo>
                <a:lnTo>
                  <a:pt x="3600233" y="511496"/>
                </a:lnTo>
                <a:lnTo>
                  <a:pt x="3571276" y="511496"/>
                </a:lnTo>
                <a:close/>
                <a:moveTo>
                  <a:pt x="3385977" y="332095"/>
                </a:moveTo>
                <a:lnTo>
                  <a:pt x="3527698" y="332095"/>
                </a:lnTo>
                <a:lnTo>
                  <a:pt x="3527698" y="358733"/>
                </a:lnTo>
                <a:lnTo>
                  <a:pt x="3471325" y="358733"/>
                </a:lnTo>
                <a:lnTo>
                  <a:pt x="3471325" y="511496"/>
                </a:lnTo>
                <a:lnTo>
                  <a:pt x="3442096" y="511496"/>
                </a:lnTo>
                <a:lnTo>
                  <a:pt x="3442096" y="358733"/>
                </a:lnTo>
                <a:lnTo>
                  <a:pt x="3385977" y="358733"/>
                </a:lnTo>
                <a:close/>
                <a:moveTo>
                  <a:pt x="3273572" y="332095"/>
                </a:moveTo>
                <a:lnTo>
                  <a:pt x="3302526" y="332095"/>
                </a:lnTo>
                <a:lnTo>
                  <a:pt x="3302526" y="484836"/>
                </a:lnTo>
                <a:lnTo>
                  <a:pt x="3390951" y="484836"/>
                </a:lnTo>
                <a:lnTo>
                  <a:pt x="3390951" y="511496"/>
                </a:lnTo>
                <a:lnTo>
                  <a:pt x="3273572" y="511496"/>
                </a:lnTo>
                <a:close/>
                <a:moveTo>
                  <a:pt x="3073730" y="332095"/>
                </a:moveTo>
                <a:lnTo>
                  <a:pt x="3102684" y="332095"/>
                </a:lnTo>
                <a:lnTo>
                  <a:pt x="3102684" y="442036"/>
                </a:lnTo>
                <a:cubicBezTo>
                  <a:pt x="3102432" y="454260"/>
                  <a:pt x="3106879" y="466123"/>
                  <a:pt x="3115118" y="475163"/>
                </a:cubicBezTo>
                <a:cubicBezTo>
                  <a:pt x="3133327" y="493077"/>
                  <a:pt x="3162976" y="493077"/>
                  <a:pt x="3181184" y="475163"/>
                </a:cubicBezTo>
                <a:cubicBezTo>
                  <a:pt x="3189445" y="466145"/>
                  <a:pt x="3193934" y="454260"/>
                  <a:pt x="3193680" y="442036"/>
                </a:cubicBezTo>
                <a:lnTo>
                  <a:pt x="3193680" y="332095"/>
                </a:lnTo>
                <a:lnTo>
                  <a:pt x="3222130" y="332095"/>
                </a:lnTo>
                <a:lnTo>
                  <a:pt x="3222130" y="442288"/>
                </a:lnTo>
                <a:cubicBezTo>
                  <a:pt x="3222466" y="461847"/>
                  <a:pt x="3214860" y="480728"/>
                  <a:pt x="3201056" y="494573"/>
                </a:cubicBezTo>
                <a:cubicBezTo>
                  <a:pt x="3171259" y="522116"/>
                  <a:pt x="3124727" y="522116"/>
                  <a:pt x="3094930" y="494573"/>
                </a:cubicBezTo>
                <a:cubicBezTo>
                  <a:pt x="3081064" y="480750"/>
                  <a:pt x="3073413" y="461866"/>
                  <a:pt x="3073730" y="442288"/>
                </a:cubicBezTo>
                <a:close/>
                <a:moveTo>
                  <a:pt x="2712886" y="332095"/>
                </a:moveTo>
                <a:lnTo>
                  <a:pt x="2748522" y="332095"/>
                </a:lnTo>
                <a:lnTo>
                  <a:pt x="2832332" y="467663"/>
                </a:lnTo>
                <a:lnTo>
                  <a:pt x="2832332" y="332095"/>
                </a:lnTo>
                <a:lnTo>
                  <a:pt x="2860023" y="332095"/>
                </a:lnTo>
                <a:lnTo>
                  <a:pt x="2860023" y="511496"/>
                </a:lnTo>
                <a:lnTo>
                  <a:pt x="2826431" y="511496"/>
                </a:lnTo>
                <a:lnTo>
                  <a:pt x="2740577" y="372579"/>
                </a:lnTo>
                <a:lnTo>
                  <a:pt x="2740577" y="511496"/>
                </a:lnTo>
                <a:lnTo>
                  <a:pt x="2712886" y="511496"/>
                </a:lnTo>
                <a:close/>
                <a:moveTo>
                  <a:pt x="2577187" y="328418"/>
                </a:moveTo>
                <a:cubicBezTo>
                  <a:pt x="2601435" y="328418"/>
                  <a:pt x="2625685" y="337511"/>
                  <a:pt x="2644123" y="355698"/>
                </a:cubicBezTo>
                <a:cubicBezTo>
                  <a:pt x="2661763" y="373147"/>
                  <a:pt x="2671710" y="396960"/>
                  <a:pt x="2671710" y="421786"/>
                </a:cubicBezTo>
                <a:cubicBezTo>
                  <a:pt x="2671710" y="446609"/>
                  <a:pt x="2661763" y="470422"/>
                  <a:pt x="2644123" y="487872"/>
                </a:cubicBezTo>
                <a:cubicBezTo>
                  <a:pt x="2626317" y="505531"/>
                  <a:pt x="2602208" y="515414"/>
                  <a:pt x="2577130" y="515330"/>
                </a:cubicBezTo>
                <a:cubicBezTo>
                  <a:pt x="2552074" y="515436"/>
                  <a:pt x="2528009" y="505551"/>
                  <a:pt x="2510263" y="487872"/>
                </a:cubicBezTo>
                <a:cubicBezTo>
                  <a:pt x="2492690" y="470380"/>
                  <a:pt x="2482805" y="446589"/>
                  <a:pt x="2482805" y="421786"/>
                </a:cubicBezTo>
                <a:cubicBezTo>
                  <a:pt x="2482805" y="397002"/>
                  <a:pt x="2492690" y="373189"/>
                  <a:pt x="2510263" y="355698"/>
                </a:cubicBezTo>
                <a:cubicBezTo>
                  <a:pt x="2528693" y="337511"/>
                  <a:pt x="2552939" y="328418"/>
                  <a:pt x="2577187" y="328418"/>
                </a:cubicBezTo>
                <a:close/>
                <a:moveTo>
                  <a:pt x="3945986" y="328239"/>
                </a:moveTo>
                <a:cubicBezTo>
                  <a:pt x="3956269" y="328177"/>
                  <a:pt x="3966491" y="329547"/>
                  <a:pt x="3976396" y="332347"/>
                </a:cubicBezTo>
                <a:cubicBezTo>
                  <a:pt x="3985710" y="335005"/>
                  <a:pt x="3994498" y="339261"/>
                  <a:pt x="4002359" y="344908"/>
                </a:cubicBezTo>
                <a:lnTo>
                  <a:pt x="3994814" y="356689"/>
                </a:lnTo>
                <a:lnTo>
                  <a:pt x="3987248" y="368468"/>
                </a:lnTo>
                <a:cubicBezTo>
                  <a:pt x="3981453" y="364001"/>
                  <a:pt x="3974920" y="360565"/>
                  <a:pt x="3967944" y="358353"/>
                </a:cubicBezTo>
                <a:cubicBezTo>
                  <a:pt x="3960738" y="356162"/>
                  <a:pt x="3953256" y="355087"/>
                  <a:pt x="3945733" y="355171"/>
                </a:cubicBezTo>
                <a:cubicBezTo>
                  <a:pt x="3928516" y="355045"/>
                  <a:pt x="3911974" y="361979"/>
                  <a:pt x="3900004" y="374349"/>
                </a:cubicBezTo>
                <a:cubicBezTo>
                  <a:pt x="3887865" y="387119"/>
                  <a:pt x="3881185" y="404168"/>
                  <a:pt x="3881395" y="421806"/>
                </a:cubicBezTo>
                <a:cubicBezTo>
                  <a:pt x="3881121" y="439381"/>
                  <a:pt x="3887612" y="456408"/>
                  <a:pt x="3899498" y="469369"/>
                </a:cubicBezTo>
                <a:cubicBezTo>
                  <a:pt x="3911215" y="481823"/>
                  <a:pt x="3927609" y="488841"/>
                  <a:pt x="3944700" y="488692"/>
                </a:cubicBezTo>
                <a:cubicBezTo>
                  <a:pt x="3959389" y="489135"/>
                  <a:pt x="3973719" y="484057"/>
                  <a:pt x="3984845" y="474469"/>
                </a:cubicBezTo>
                <a:cubicBezTo>
                  <a:pt x="3995003" y="465048"/>
                  <a:pt x="4001642" y="452426"/>
                  <a:pt x="4003664" y="438707"/>
                </a:cubicBezTo>
                <a:lnTo>
                  <a:pt x="3942656" y="438707"/>
                </a:lnTo>
                <a:lnTo>
                  <a:pt x="3950981" y="425642"/>
                </a:lnTo>
                <a:lnTo>
                  <a:pt x="3959327" y="412575"/>
                </a:lnTo>
                <a:lnTo>
                  <a:pt x="4031081" y="412575"/>
                </a:lnTo>
                <a:cubicBezTo>
                  <a:pt x="4031546" y="414451"/>
                  <a:pt x="4031840" y="416370"/>
                  <a:pt x="4032008" y="418308"/>
                </a:cubicBezTo>
                <a:cubicBezTo>
                  <a:pt x="4032240" y="420584"/>
                  <a:pt x="4032366" y="423071"/>
                  <a:pt x="4032366" y="425388"/>
                </a:cubicBezTo>
                <a:cubicBezTo>
                  <a:pt x="4032851" y="449118"/>
                  <a:pt x="4024085" y="472108"/>
                  <a:pt x="4007921" y="489493"/>
                </a:cubicBezTo>
                <a:cubicBezTo>
                  <a:pt x="3991252" y="506500"/>
                  <a:pt x="3968261" y="515857"/>
                  <a:pt x="3944448" y="515352"/>
                </a:cubicBezTo>
                <a:cubicBezTo>
                  <a:pt x="3919750" y="515498"/>
                  <a:pt x="3896022" y="505657"/>
                  <a:pt x="3878676" y="488082"/>
                </a:cubicBezTo>
                <a:cubicBezTo>
                  <a:pt x="3842978" y="451331"/>
                  <a:pt x="3843273" y="391902"/>
                  <a:pt x="3879351" y="355507"/>
                </a:cubicBezTo>
                <a:cubicBezTo>
                  <a:pt x="3897053" y="337954"/>
                  <a:pt x="3921036" y="328133"/>
                  <a:pt x="3945986" y="328239"/>
                </a:cubicBezTo>
                <a:close/>
                <a:moveTo>
                  <a:pt x="2397605" y="328239"/>
                </a:moveTo>
                <a:cubicBezTo>
                  <a:pt x="2419312" y="327690"/>
                  <a:pt x="2440553" y="334750"/>
                  <a:pt x="2457580" y="348217"/>
                </a:cubicBezTo>
                <a:lnTo>
                  <a:pt x="2450142" y="359892"/>
                </a:lnTo>
                <a:lnTo>
                  <a:pt x="2442724" y="371545"/>
                </a:lnTo>
                <a:cubicBezTo>
                  <a:pt x="2436233" y="366340"/>
                  <a:pt x="2428985" y="362167"/>
                  <a:pt x="2421208" y="359176"/>
                </a:cubicBezTo>
                <a:cubicBezTo>
                  <a:pt x="2413157" y="356246"/>
                  <a:pt x="2404643" y="354793"/>
                  <a:pt x="2396068" y="354897"/>
                </a:cubicBezTo>
                <a:cubicBezTo>
                  <a:pt x="2378935" y="354855"/>
                  <a:pt x="2362518" y="361831"/>
                  <a:pt x="2350675" y="374223"/>
                </a:cubicBezTo>
                <a:cubicBezTo>
                  <a:pt x="2325891" y="400900"/>
                  <a:pt x="2325891" y="442689"/>
                  <a:pt x="2350675" y="469369"/>
                </a:cubicBezTo>
                <a:cubicBezTo>
                  <a:pt x="2362518" y="481739"/>
                  <a:pt x="2378935" y="488737"/>
                  <a:pt x="2396068" y="488692"/>
                </a:cubicBezTo>
                <a:cubicBezTo>
                  <a:pt x="2404643" y="488779"/>
                  <a:pt x="2413157" y="487323"/>
                  <a:pt x="2421208" y="484394"/>
                </a:cubicBezTo>
                <a:cubicBezTo>
                  <a:pt x="2428985" y="481402"/>
                  <a:pt x="2436233" y="477230"/>
                  <a:pt x="2442724" y="472024"/>
                </a:cubicBezTo>
                <a:lnTo>
                  <a:pt x="2450142" y="483699"/>
                </a:lnTo>
                <a:lnTo>
                  <a:pt x="2457580" y="495352"/>
                </a:lnTo>
                <a:cubicBezTo>
                  <a:pt x="2440553" y="508819"/>
                  <a:pt x="2419312" y="515899"/>
                  <a:pt x="2397605" y="515330"/>
                </a:cubicBezTo>
                <a:cubicBezTo>
                  <a:pt x="2372379" y="515521"/>
                  <a:pt x="2348104" y="505722"/>
                  <a:pt x="2330086" y="488062"/>
                </a:cubicBezTo>
                <a:cubicBezTo>
                  <a:pt x="2312362" y="470590"/>
                  <a:pt x="2302415" y="446674"/>
                  <a:pt x="2302521" y="421786"/>
                </a:cubicBezTo>
                <a:cubicBezTo>
                  <a:pt x="2302415" y="396898"/>
                  <a:pt x="2312362" y="372979"/>
                  <a:pt x="2330086" y="355507"/>
                </a:cubicBezTo>
                <a:cubicBezTo>
                  <a:pt x="2348104" y="337870"/>
                  <a:pt x="2372379" y="328049"/>
                  <a:pt x="2397605" y="328239"/>
                </a:cubicBezTo>
                <a:close/>
                <a:moveTo>
                  <a:pt x="2967329" y="328177"/>
                </a:moveTo>
                <a:lnTo>
                  <a:pt x="2967709" y="328177"/>
                </a:lnTo>
                <a:cubicBezTo>
                  <a:pt x="2968594" y="328177"/>
                  <a:pt x="2969479" y="328197"/>
                  <a:pt x="2970364" y="328239"/>
                </a:cubicBezTo>
                <a:cubicBezTo>
                  <a:pt x="2980499" y="328197"/>
                  <a:pt x="2990573" y="329757"/>
                  <a:pt x="3000226" y="332854"/>
                </a:cubicBezTo>
                <a:cubicBezTo>
                  <a:pt x="3008971" y="335677"/>
                  <a:pt x="3017211" y="339830"/>
                  <a:pt x="3024691" y="345162"/>
                </a:cubicBezTo>
                <a:lnTo>
                  <a:pt x="3017527" y="356563"/>
                </a:lnTo>
                <a:lnTo>
                  <a:pt x="3010341" y="367963"/>
                </a:lnTo>
                <a:cubicBezTo>
                  <a:pt x="3004082" y="363833"/>
                  <a:pt x="2997380" y="360461"/>
                  <a:pt x="2990321" y="357910"/>
                </a:cubicBezTo>
                <a:cubicBezTo>
                  <a:pt x="2983829" y="355594"/>
                  <a:pt x="2977002" y="354412"/>
                  <a:pt x="2970112" y="354392"/>
                </a:cubicBezTo>
                <a:cubicBezTo>
                  <a:pt x="2961660" y="353866"/>
                  <a:pt x="2953315" y="356521"/>
                  <a:pt x="2946720" y="361808"/>
                </a:cubicBezTo>
                <a:cubicBezTo>
                  <a:pt x="2941662" y="366488"/>
                  <a:pt x="2938879" y="373125"/>
                  <a:pt x="2939091" y="380017"/>
                </a:cubicBezTo>
                <a:cubicBezTo>
                  <a:pt x="2938879" y="387539"/>
                  <a:pt x="2943010" y="394537"/>
                  <a:pt x="2949691" y="397993"/>
                </a:cubicBezTo>
                <a:cubicBezTo>
                  <a:pt x="2958605" y="402566"/>
                  <a:pt x="2968046" y="406084"/>
                  <a:pt x="2977802" y="408445"/>
                </a:cubicBezTo>
                <a:cubicBezTo>
                  <a:pt x="2991248" y="411754"/>
                  <a:pt x="3004040" y="417339"/>
                  <a:pt x="3015567" y="424987"/>
                </a:cubicBezTo>
                <a:cubicBezTo>
                  <a:pt x="3026799" y="433332"/>
                  <a:pt x="3033120" y="446778"/>
                  <a:pt x="3032384" y="460749"/>
                </a:cubicBezTo>
                <a:cubicBezTo>
                  <a:pt x="3032804" y="475564"/>
                  <a:pt x="3026757" y="489852"/>
                  <a:pt x="3015819" y="499863"/>
                </a:cubicBezTo>
                <a:cubicBezTo>
                  <a:pt x="3002712" y="510653"/>
                  <a:pt x="2986042" y="516173"/>
                  <a:pt x="2969079" y="515330"/>
                </a:cubicBezTo>
                <a:cubicBezTo>
                  <a:pt x="2956581" y="515456"/>
                  <a:pt x="2944169" y="513392"/>
                  <a:pt x="2932390" y="509219"/>
                </a:cubicBezTo>
                <a:cubicBezTo>
                  <a:pt x="2922821" y="505699"/>
                  <a:pt x="2913761" y="500852"/>
                  <a:pt x="2905520" y="494825"/>
                </a:cubicBezTo>
                <a:lnTo>
                  <a:pt x="2919872" y="472024"/>
                </a:lnTo>
                <a:cubicBezTo>
                  <a:pt x="2927352" y="476955"/>
                  <a:pt x="2935319" y="481086"/>
                  <a:pt x="2943642" y="484352"/>
                </a:cubicBezTo>
                <a:cubicBezTo>
                  <a:pt x="2951839" y="487513"/>
                  <a:pt x="2960565" y="489157"/>
                  <a:pt x="2969353" y="489199"/>
                </a:cubicBezTo>
                <a:cubicBezTo>
                  <a:pt x="2978435" y="489684"/>
                  <a:pt x="2987433" y="486987"/>
                  <a:pt x="2994745" y="481528"/>
                </a:cubicBezTo>
                <a:cubicBezTo>
                  <a:pt x="3000394" y="476871"/>
                  <a:pt x="3003597" y="469853"/>
                  <a:pt x="3003429" y="462541"/>
                </a:cubicBezTo>
                <a:cubicBezTo>
                  <a:pt x="3003575" y="455039"/>
                  <a:pt x="2999403" y="448085"/>
                  <a:pt x="2992723" y="444671"/>
                </a:cubicBezTo>
                <a:cubicBezTo>
                  <a:pt x="2983851" y="440056"/>
                  <a:pt x="2974453" y="436494"/>
                  <a:pt x="2964716" y="434091"/>
                </a:cubicBezTo>
                <a:cubicBezTo>
                  <a:pt x="2951251" y="430846"/>
                  <a:pt x="2938436" y="425284"/>
                  <a:pt x="2926848" y="417655"/>
                </a:cubicBezTo>
                <a:cubicBezTo>
                  <a:pt x="2915635" y="409268"/>
                  <a:pt x="2909356" y="395781"/>
                  <a:pt x="2910135" y="381809"/>
                </a:cubicBezTo>
                <a:cubicBezTo>
                  <a:pt x="2909692" y="367289"/>
                  <a:pt x="2915467" y="353275"/>
                  <a:pt x="2926025" y="343306"/>
                </a:cubicBezTo>
                <a:cubicBezTo>
                  <a:pt x="2937593" y="333507"/>
                  <a:pt x="2952240" y="328177"/>
                  <a:pt x="2967329" y="328177"/>
                </a:cubicBezTo>
                <a:close/>
                <a:moveTo>
                  <a:pt x="175520" y="167447"/>
                </a:moveTo>
                <a:lnTo>
                  <a:pt x="175520" y="344129"/>
                </a:lnTo>
                <a:lnTo>
                  <a:pt x="375298" y="344129"/>
                </a:lnTo>
                <a:cubicBezTo>
                  <a:pt x="399155" y="344445"/>
                  <a:pt x="422208" y="335299"/>
                  <a:pt x="439383" y="318714"/>
                </a:cubicBezTo>
                <a:cubicBezTo>
                  <a:pt x="456264" y="301939"/>
                  <a:pt x="465663" y="279012"/>
                  <a:pt x="465366" y="255219"/>
                </a:cubicBezTo>
                <a:cubicBezTo>
                  <a:pt x="465705" y="231575"/>
                  <a:pt x="456306" y="208793"/>
                  <a:pt x="439383" y="192273"/>
                </a:cubicBezTo>
                <a:cubicBezTo>
                  <a:pt x="422060" y="175982"/>
                  <a:pt x="399070" y="167068"/>
                  <a:pt x="375298" y="167447"/>
                </a:cubicBezTo>
                <a:close/>
                <a:moveTo>
                  <a:pt x="2340453" y="118368"/>
                </a:moveTo>
                <a:lnTo>
                  <a:pt x="2340453" y="171157"/>
                </a:lnTo>
                <a:lnTo>
                  <a:pt x="2387090" y="171157"/>
                </a:lnTo>
                <a:cubicBezTo>
                  <a:pt x="2394528" y="171283"/>
                  <a:pt x="2401714" y="168522"/>
                  <a:pt x="2407130" y="163445"/>
                </a:cubicBezTo>
                <a:cubicBezTo>
                  <a:pt x="2412188" y="158533"/>
                  <a:pt x="2415033" y="151770"/>
                  <a:pt x="2415033" y="144710"/>
                </a:cubicBezTo>
                <a:cubicBezTo>
                  <a:pt x="2415033" y="137672"/>
                  <a:pt x="2412188" y="130906"/>
                  <a:pt x="2407130" y="125997"/>
                </a:cubicBezTo>
                <a:cubicBezTo>
                  <a:pt x="2401862" y="121107"/>
                  <a:pt x="2394950" y="118388"/>
                  <a:pt x="2387784" y="118368"/>
                </a:cubicBezTo>
                <a:lnTo>
                  <a:pt x="2387448" y="118368"/>
                </a:lnTo>
                <a:cubicBezTo>
                  <a:pt x="2387322" y="118368"/>
                  <a:pt x="2387216" y="118368"/>
                  <a:pt x="2387090" y="118368"/>
                </a:cubicBezTo>
                <a:close/>
                <a:moveTo>
                  <a:pt x="2340453" y="43008"/>
                </a:moveTo>
                <a:lnTo>
                  <a:pt x="2340453" y="93248"/>
                </a:lnTo>
                <a:lnTo>
                  <a:pt x="2382494" y="93248"/>
                </a:lnTo>
                <a:cubicBezTo>
                  <a:pt x="2389386" y="93394"/>
                  <a:pt x="2396088" y="90823"/>
                  <a:pt x="2401103" y="86062"/>
                </a:cubicBezTo>
                <a:cubicBezTo>
                  <a:pt x="2410734" y="76137"/>
                  <a:pt x="2410734" y="60121"/>
                  <a:pt x="2401103" y="50194"/>
                </a:cubicBezTo>
                <a:cubicBezTo>
                  <a:pt x="2396256" y="45579"/>
                  <a:pt x="2389809" y="43008"/>
                  <a:pt x="2383127" y="43008"/>
                </a:cubicBezTo>
                <a:lnTo>
                  <a:pt x="2382811" y="43008"/>
                </a:lnTo>
                <a:cubicBezTo>
                  <a:pt x="2382707" y="43008"/>
                  <a:pt x="2382601" y="43008"/>
                  <a:pt x="2382494" y="43008"/>
                </a:cubicBezTo>
                <a:close/>
                <a:moveTo>
                  <a:pt x="3103717" y="40459"/>
                </a:moveTo>
                <a:cubicBezTo>
                  <a:pt x="3086394" y="40459"/>
                  <a:pt x="3069789" y="47433"/>
                  <a:pt x="3057672" y="59825"/>
                </a:cubicBezTo>
                <a:cubicBezTo>
                  <a:pt x="3032658" y="86146"/>
                  <a:pt x="3032658" y="128019"/>
                  <a:pt x="3057672" y="154340"/>
                </a:cubicBezTo>
                <a:cubicBezTo>
                  <a:pt x="3069725" y="166774"/>
                  <a:pt x="3086332" y="173770"/>
                  <a:pt x="3103653" y="173728"/>
                </a:cubicBezTo>
                <a:cubicBezTo>
                  <a:pt x="3121019" y="173812"/>
                  <a:pt x="3137709" y="166859"/>
                  <a:pt x="3149847" y="154444"/>
                </a:cubicBezTo>
                <a:cubicBezTo>
                  <a:pt x="3174945" y="128103"/>
                  <a:pt x="3174903" y="86124"/>
                  <a:pt x="3149743" y="59825"/>
                </a:cubicBezTo>
                <a:cubicBezTo>
                  <a:pt x="3137645" y="47433"/>
                  <a:pt x="3121041" y="40459"/>
                  <a:pt x="3103717" y="40459"/>
                </a:cubicBezTo>
                <a:close/>
                <a:moveTo>
                  <a:pt x="2572073" y="40459"/>
                </a:moveTo>
                <a:cubicBezTo>
                  <a:pt x="2554751" y="40459"/>
                  <a:pt x="2538145" y="47433"/>
                  <a:pt x="2526027" y="59825"/>
                </a:cubicBezTo>
                <a:cubicBezTo>
                  <a:pt x="2501013" y="86146"/>
                  <a:pt x="2501013" y="128019"/>
                  <a:pt x="2526027" y="154340"/>
                </a:cubicBezTo>
                <a:cubicBezTo>
                  <a:pt x="2538083" y="166774"/>
                  <a:pt x="2554687" y="173770"/>
                  <a:pt x="2572011" y="173728"/>
                </a:cubicBezTo>
                <a:cubicBezTo>
                  <a:pt x="2589374" y="173812"/>
                  <a:pt x="2606065" y="166859"/>
                  <a:pt x="2618204" y="154444"/>
                </a:cubicBezTo>
                <a:cubicBezTo>
                  <a:pt x="2643302" y="128103"/>
                  <a:pt x="2643260" y="86124"/>
                  <a:pt x="2618120" y="59825"/>
                </a:cubicBezTo>
                <a:cubicBezTo>
                  <a:pt x="2606003" y="47433"/>
                  <a:pt x="2589396" y="40459"/>
                  <a:pt x="2572073" y="40459"/>
                </a:cubicBezTo>
                <a:close/>
                <a:moveTo>
                  <a:pt x="3239241" y="17383"/>
                </a:moveTo>
                <a:lnTo>
                  <a:pt x="3274857" y="17383"/>
                </a:lnTo>
                <a:lnTo>
                  <a:pt x="3316772" y="85177"/>
                </a:lnTo>
                <a:lnTo>
                  <a:pt x="3358687" y="152971"/>
                </a:lnTo>
                <a:lnTo>
                  <a:pt x="3358687" y="17383"/>
                </a:lnTo>
                <a:lnTo>
                  <a:pt x="3386356" y="17383"/>
                </a:lnTo>
                <a:lnTo>
                  <a:pt x="3386356" y="196804"/>
                </a:lnTo>
                <a:lnTo>
                  <a:pt x="3352786" y="196804"/>
                </a:lnTo>
                <a:lnTo>
                  <a:pt x="3309838" y="127344"/>
                </a:lnTo>
                <a:lnTo>
                  <a:pt x="3266912" y="57887"/>
                </a:lnTo>
                <a:lnTo>
                  <a:pt x="3266912" y="196804"/>
                </a:lnTo>
                <a:lnTo>
                  <a:pt x="3239241" y="196804"/>
                </a:lnTo>
                <a:close/>
                <a:moveTo>
                  <a:pt x="2849255" y="17383"/>
                </a:moveTo>
                <a:lnTo>
                  <a:pt x="2990995" y="17383"/>
                </a:lnTo>
                <a:lnTo>
                  <a:pt x="2990995" y="44041"/>
                </a:lnTo>
                <a:lnTo>
                  <a:pt x="2934602" y="44041"/>
                </a:lnTo>
                <a:lnTo>
                  <a:pt x="2934602" y="196804"/>
                </a:lnTo>
                <a:lnTo>
                  <a:pt x="2905393" y="196804"/>
                </a:lnTo>
                <a:lnTo>
                  <a:pt x="2905393" y="44041"/>
                </a:lnTo>
                <a:lnTo>
                  <a:pt x="2849255" y="44041"/>
                </a:lnTo>
                <a:close/>
                <a:moveTo>
                  <a:pt x="2311499" y="17383"/>
                </a:moveTo>
                <a:lnTo>
                  <a:pt x="2382727" y="17383"/>
                </a:lnTo>
                <a:cubicBezTo>
                  <a:pt x="2397079" y="17045"/>
                  <a:pt x="2411050" y="21850"/>
                  <a:pt x="2422113" y="30974"/>
                </a:cubicBezTo>
                <a:cubicBezTo>
                  <a:pt x="2432166" y="39532"/>
                  <a:pt x="2437941" y="52112"/>
                  <a:pt x="2437856" y="65325"/>
                </a:cubicBezTo>
                <a:cubicBezTo>
                  <a:pt x="2437918" y="72721"/>
                  <a:pt x="2435916" y="80013"/>
                  <a:pt x="2432124" y="86356"/>
                </a:cubicBezTo>
                <a:cubicBezTo>
                  <a:pt x="2428288" y="92615"/>
                  <a:pt x="2422936" y="97799"/>
                  <a:pt x="2416571" y="101445"/>
                </a:cubicBezTo>
                <a:cubicBezTo>
                  <a:pt x="2424958" y="105408"/>
                  <a:pt x="2432082" y="111583"/>
                  <a:pt x="2437202" y="119295"/>
                </a:cubicBezTo>
                <a:cubicBezTo>
                  <a:pt x="2442197" y="126944"/>
                  <a:pt x="2444810" y="135900"/>
                  <a:pt x="2444768" y="145026"/>
                </a:cubicBezTo>
                <a:cubicBezTo>
                  <a:pt x="2444852" y="158998"/>
                  <a:pt x="2438994" y="172359"/>
                  <a:pt x="2428646" y="181777"/>
                </a:cubicBezTo>
                <a:cubicBezTo>
                  <a:pt x="2417267" y="191788"/>
                  <a:pt x="2402515" y="197162"/>
                  <a:pt x="2387364" y="196804"/>
                </a:cubicBezTo>
                <a:lnTo>
                  <a:pt x="2311499" y="196804"/>
                </a:lnTo>
                <a:close/>
                <a:moveTo>
                  <a:pt x="3103717" y="13721"/>
                </a:moveTo>
                <a:cubicBezTo>
                  <a:pt x="3127963" y="13721"/>
                  <a:pt x="3152208" y="22809"/>
                  <a:pt x="3170646" y="40986"/>
                </a:cubicBezTo>
                <a:cubicBezTo>
                  <a:pt x="3188286" y="58455"/>
                  <a:pt x="3198233" y="82268"/>
                  <a:pt x="3198233" y="107094"/>
                </a:cubicBezTo>
                <a:cubicBezTo>
                  <a:pt x="3198233" y="131917"/>
                  <a:pt x="3188286" y="155730"/>
                  <a:pt x="3170646" y="173179"/>
                </a:cubicBezTo>
                <a:cubicBezTo>
                  <a:pt x="3152840" y="190839"/>
                  <a:pt x="3128731" y="200722"/>
                  <a:pt x="3103653" y="200638"/>
                </a:cubicBezTo>
                <a:cubicBezTo>
                  <a:pt x="3078619" y="200722"/>
                  <a:pt x="3054532" y="190839"/>
                  <a:pt x="3036789" y="173179"/>
                </a:cubicBezTo>
                <a:cubicBezTo>
                  <a:pt x="3019213" y="155688"/>
                  <a:pt x="3009330" y="131875"/>
                  <a:pt x="3009330" y="107094"/>
                </a:cubicBezTo>
                <a:cubicBezTo>
                  <a:pt x="3009330" y="82290"/>
                  <a:pt x="3019213" y="58497"/>
                  <a:pt x="3036789" y="40986"/>
                </a:cubicBezTo>
                <a:cubicBezTo>
                  <a:pt x="3055227" y="22809"/>
                  <a:pt x="3079472" y="13721"/>
                  <a:pt x="3103717" y="13721"/>
                </a:cubicBezTo>
                <a:close/>
                <a:moveTo>
                  <a:pt x="2572074" y="13721"/>
                </a:moveTo>
                <a:cubicBezTo>
                  <a:pt x="2596319" y="13721"/>
                  <a:pt x="2620564" y="22809"/>
                  <a:pt x="2639004" y="40986"/>
                </a:cubicBezTo>
                <a:cubicBezTo>
                  <a:pt x="2656641" y="58455"/>
                  <a:pt x="2666588" y="82268"/>
                  <a:pt x="2666588" y="107094"/>
                </a:cubicBezTo>
                <a:cubicBezTo>
                  <a:pt x="2666588" y="131917"/>
                  <a:pt x="2656641" y="155730"/>
                  <a:pt x="2639004" y="173179"/>
                </a:cubicBezTo>
                <a:cubicBezTo>
                  <a:pt x="2621196" y="190839"/>
                  <a:pt x="2597089" y="200722"/>
                  <a:pt x="2572011" y="200638"/>
                </a:cubicBezTo>
                <a:cubicBezTo>
                  <a:pt x="2546974" y="200722"/>
                  <a:pt x="2522888" y="190839"/>
                  <a:pt x="2505144" y="173179"/>
                </a:cubicBezTo>
                <a:cubicBezTo>
                  <a:pt x="2487568" y="155688"/>
                  <a:pt x="2477685" y="131875"/>
                  <a:pt x="2477685" y="107094"/>
                </a:cubicBezTo>
                <a:cubicBezTo>
                  <a:pt x="2477685" y="82290"/>
                  <a:pt x="2487568" y="58497"/>
                  <a:pt x="2505144" y="40986"/>
                </a:cubicBezTo>
                <a:cubicBezTo>
                  <a:pt x="2523584" y="22809"/>
                  <a:pt x="2547829" y="13721"/>
                  <a:pt x="2572074" y="13721"/>
                </a:cubicBezTo>
                <a:close/>
                <a:moveTo>
                  <a:pt x="2759628" y="13547"/>
                </a:moveTo>
                <a:cubicBezTo>
                  <a:pt x="2769744" y="13505"/>
                  <a:pt x="2779837" y="15065"/>
                  <a:pt x="2789468" y="18162"/>
                </a:cubicBezTo>
                <a:cubicBezTo>
                  <a:pt x="2798214" y="20987"/>
                  <a:pt x="2806475" y="25118"/>
                  <a:pt x="2813955" y="30470"/>
                </a:cubicBezTo>
                <a:lnTo>
                  <a:pt x="2806769" y="41871"/>
                </a:lnTo>
                <a:lnTo>
                  <a:pt x="2799605" y="53271"/>
                </a:lnTo>
                <a:cubicBezTo>
                  <a:pt x="2793346" y="49141"/>
                  <a:pt x="2786623" y="45747"/>
                  <a:pt x="2779585" y="43198"/>
                </a:cubicBezTo>
                <a:cubicBezTo>
                  <a:pt x="2773093" y="40902"/>
                  <a:pt x="2766246" y="39700"/>
                  <a:pt x="2759354" y="39678"/>
                </a:cubicBezTo>
                <a:cubicBezTo>
                  <a:pt x="2750903" y="39174"/>
                  <a:pt x="2742579" y="41829"/>
                  <a:pt x="2735984" y="47119"/>
                </a:cubicBezTo>
                <a:cubicBezTo>
                  <a:pt x="2730926" y="51796"/>
                  <a:pt x="2728143" y="58435"/>
                  <a:pt x="2728355" y="65325"/>
                </a:cubicBezTo>
                <a:cubicBezTo>
                  <a:pt x="2728143" y="72827"/>
                  <a:pt x="2732274" y="79845"/>
                  <a:pt x="2738955" y="83281"/>
                </a:cubicBezTo>
                <a:cubicBezTo>
                  <a:pt x="2747869" y="87874"/>
                  <a:pt x="2757310" y="91394"/>
                  <a:pt x="2767067" y="93775"/>
                </a:cubicBezTo>
                <a:cubicBezTo>
                  <a:pt x="2780512" y="97062"/>
                  <a:pt x="2793282" y="102647"/>
                  <a:pt x="2804831" y="110297"/>
                </a:cubicBezTo>
                <a:cubicBezTo>
                  <a:pt x="2816041" y="118640"/>
                  <a:pt x="2822365" y="132085"/>
                  <a:pt x="2821648" y="146057"/>
                </a:cubicBezTo>
                <a:cubicBezTo>
                  <a:pt x="2822048" y="160874"/>
                  <a:pt x="2815999" y="175140"/>
                  <a:pt x="2805083" y="185171"/>
                </a:cubicBezTo>
                <a:cubicBezTo>
                  <a:pt x="2791977" y="195939"/>
                  <a:pt x="2775306" y="201461"/>
                  <a:pt x="2758343" y="200638"/>
                </a:cubicBezTo>
                <a:cubicBezTo>
                  <a:pt x="2745845" y="200744"/>
                  <a:pt x="2733433" y="198678"/>
                  <a:pt x="2721654" y="194505"/>
                </a:cubicBezTo>
                <a:cubicBezTo>
                  <a:pt x="2712065" y="191007"/>
                  <a:pt x="2703025" y="186162"/>
                  <a:pt x="2694764" y="180133"/>
                </a:cubicBezTo>
                <a:lnTo>
                  <a:pt x="2701950" y="168732"/>
                </a:lnTo>
                <a:lnTo>
                  <a:pt x="2709114" y="157332"/>
                </a:lnTo>
                <a:cubicBezTo>
                  <a:pt x="2716596" y="162263"/>
                  <a:pt x="2724561" y="166394"/>
                  <a:pt x="2732906" y="169659"/>
                </a:cubicBezTo>
                <a:cubicBezTo>
                  <a:pt x="2741104" y="172821"/>
                  <a:pt x="2749807" y="174445"/>
                  <a:pt x="2758595" y="174487"/>
                </a:cubicBezTo>
                <a:cubicBezTo>
                  <a:pt x="2767699" y="174991"/>
                  <a:pt x="2776678" y="172275"/>
                  <a:pt x="2783990" y="166836"/>
                </a:cubicBezTo>
                <a:cubicBezTo>
                  <a:pt x="2789636" y="162159"/>
                  <a:pt x="2792840" y="155161"/>
                  <a:pt x="2792671" y="147849"/>
                </a:cubicBezTo>
                <a:cubicBezTo>
                  <a:pt x="2792820" y="140347"/>
                  <a:pt x="2788667" y="133393"/>
                  <a:pt x="2781987" y="129957"/>
                </a:cubicBezTo>
                <a:cubicBezTo>
                  <a:pt x="2773093" y="125342"/>
                  <a:pt x="2763695" y="121802"/>
                  <a:pt x="2753980" y="119379"/>
                </a:cubicBezTo>
                <a:cubicBezTo>
                  <a:pt x="2740493" y="116156"/>
                  <a:pt x="2727681" y="110592"/>
                  <a:pt x="2716112" y="102963"/>
                </a:cubicBezTo>
                <a:cubicBezTo>
                  <a:pt x="2704899" y="94576"/>
                  <a:pt x="2698598" y="81089"/>
                  <a:pt x="2699399" y="67095"/>
                </a:cubicBezTo>
                <a:cubicBezTo>
                  <a:pt x="2698956" y="52597"/>
                  <a:pt x="2704731" y="38561"/>
                  <a:pt x="2715289" y="28594"/>
                </a:cubicBezTo>
                <a:cubicBezTo>
                  <a:pt x="2727617" y="18162"/>
                  <a:pt x="2743464" y="12768"/>
                  <a:pt x="2759628" y="13547"/>
                </a:cubicBezTo>
                <a:close/>
                <a:moveTo>
                  <a:pt x="969973" y="17"/>
                </a:moveTo>
                <a:cubicBezTo>
                  <a:pt x="1015050" y="-277"/>
                  <a:pt x="1059958" y="5792"/>
                  <a:pt x="1103348" y="18058"/>
                </a:cubicBezTo>
                <a:cubicBezTo>
                  <a:pt x="1143600" y="29500"/>
                  <a:pt x="1181638" y="47603"/>
                  <a:pt x="1215924" y="71606"/>
                </a:cubicBezTo>
                <a:lnTo>
                  <a:pt x="1171459" y="141464"/>
                </a:lnTo>
                <a:lnTo>
                  <a:pt x="1127015" y="211322"/>
                </a:lnTo>
                <a:cubicBezTo>
                  <a:pt x="1105393" y="195034"/>
                  <a:pt x="1081200" y="182494"/>
                  <a:pt x="1055427" y="174232"/>
                </a:cubicBezTo>
                <a:cubicBezTo>
                  <a:pt x="1027758" y="165489"/>
                  <a:pt x="998972" y="160851"/>
                  <a:pt x="969973" y="160515"/>
                </a:cubicBezTo>
                <a:cubicBezTo>
                  <a:pt x="899737" y="161126"/>
                  <a:pt x="832469" y="189279"/>
                  <a:pt x="782756" y="238909"/>
                </a:cubicBezTo>
                <a:cubicBezTo>
                  <a:pt x="733422" y="286724"/>
                  <a:pt x="705543" y="352558"/>
                  <a:pt x="705543" y="421279"/>
                </a:cubicBezTo>
                <a:cubicBezTo>
                  <a:pt x="705543" y="489980"/>
                  <a:pt x="733422" y="555833"/>
                  <a:pt x="782756" y="603649"/>
                </a:cubicBezTo>
                <a:cubicBezTo>
                  <a:pt x="832363" y="653341"/>
                  <a:pt x="899757" y="681286"/>
                  <a:pt x="969973" y="681306"/>
                </a:cubicBezTo>
                <a:cubicBezTo>
                  <a:pt x="1004155" y="681580"/>
                  <a:pt x="1038041" y="674899"/>
                  <a:pt x="1069569" y="661666"/>
                </a:cubicBezTo>
                <a:cubicBezTo>
                  <a:pt x="1101030" y="648031"/>
                  <a:pt x="1129564" y="628433"/>
                  <a:pt x="1153567" y="603945"/>
                </a:cubicBezTo>
                <a:cubicBezTo>
                  <a:pt x="1214197" y="543315"/>
                  <a:pt x="1224880" y="467389"/>
                  <a:pt x="1242773" y="384254"/>
                </a:cubicBezTo>
                <a:cubicBezTo>
                  <a:pt x="1260662" y="301116"/>
                  <a:pt x="1285783" y="210753"/>
                  <a:pt x="1375283" y="121255"/>
                </a:cubicBezTo>
                <a:cubicBezTo>
                  <a:pt x="1413215" y="83152"/>
                  <a:pt x="1458354" y="52977"/>
                  <a:pt x="1508067" y="32492"/>
                </a:cubicBezTo>
                <a:cubicBezTo>
                  <a:pt x="1562352" y="10555"/>
                  <a:pt x="1620411" y="-487"/>
                  <a:pt x="1678975" y="17"/>
                </a:cubicBezTo>
                <a:cubicBezTo>
                  <a:pt x="1724135" y="-193"/>
                  <a:pt x="1769063" y="6276"/>
                  <a:pt x="1812328" y="19217"/>
                </a:cubicBezTo>
                <a:cubicBezTo>
                  <a:pt x="1852557" y="31312"/>
                  <a:pt x="1890573" y="49773"/>
                  <a:pt x="1924924" y="73922"/>
                </a:cubicBezTo>
                <a:lnTo>
                  <a:pt x="1881049" y="143782"/>
                </a:lnTo>
                <a:lnTo>
                  <a:pt x="1837151" y="213640"/>
                </a:lnTo>
                <a:cubicBezTo>
                  <a:pt x="1815047" y="197224"/>
                  <a:pt x="1790495" y="184370"/>
                  <a:pt x="1764406" y="175540"/>
                </a:cubicBezTo>
                <a:cubicBezTo>
                  <a:pt x="1736505" y="166225"/>
                  <a:pt x="1707234" y="161546"/>
                  <a:pt x="1677815" y="161674"/>
                </a:cubicBezTo>
                <a:cubicBezTo>
                  <a:pt x="1609221" y="161652"/>
                  <a:pt x="1543429" y="189237"/>
                  <a:pt x="1495359" y="238170"/>
                </a:cubicBezTo>
                <a:cubicBezTo>
                  <a:pt x="1447353" y="286618"/>
                  <a:pt x="1420359" y="352135"/>
                  <a:pt x="1420317" y="420330"/>
                </a:cubicBezTo>
                <a:cubicBezTo>
                  <a:pt x="1420169" y="489199"/>
                  <a:pt x="1446849" y="555497"/>
                  <a:pt x="1494642" y="605083"/>
                </a:cubicBezTo>
                <a:cubicBezTo>
                  <a:pt x="1541847" y="654438"/>
                  <a:pt x="1607218" y="682401"/>
                  <a:pt x="1675497" y="682465"/>
                </a:cubicBezTo>
                <a:cubicBezTo>
                  <a:pt x="1728076" y="683056"/>
                  <a:pt x="1779263" y="665522"/>
                  <a:pt x="1820419" y="632794"/>
                </a:cubicBezTo>
                <a:cubicBezTo>
                  <a:pt x="1860163" y="600299"/>
                  <a:pt x="1888994" y="556340"/>
                  <a:pt x="1902985" y="506943"/>
                </a:cubicBezTo>
                <a:lnTo>
                  <a:pt x="1651261" y="506943"/>
                </a:lnTo>
                <a:lnTo>
                  <a:pt x="1700911" y="428991"/>
                </a:lnTo>
                <a:lnTo>
                  <a:pt x="1750561" y="351062"/>
                </a:lnTo>
                <a:lnTo>
                  <a:pt x="2077348" y="351062"/>
                </a:lnTo>
                <a:cubicBezTo>
                  <a:pt x="2079076" y="362589"/>
                  <a:pt x="2080510" y="374138"/>
                  <a:pt x="2081521" y="385833"/>
                </a:cubicBezTo>
                <a:cubicBezTo>
                  <a:pt x="2082532" y="397528"/>
                  <a:pt x="2083123" y="409371"/>
                  <a:pt x="2083123" y="421489"/>
                </a:cubicBezTo>
                <a:cubicBezTo>
                  <a:pt x="2083713" y="532421"/>
                  <a:pt x="2040976" y="639327"/>
                  <a:pt x="1964035" y="719261"/>
                </a:cubicBezTo>
                <a:cubicBezTo>
                  <a:pt x="1887286" y="798685"/>
                  <a:pt x="1781327" y="843403"/>
                  <a:pt x="1670881" y="842961"/>
                </a:cubicBezTo>
                <a:cubicBezTo>
                  <a:pt x="1599315" y="843403"/>
                  <a:pt x="1528718" y="826418"/>
                  <a:pt x="1465203" y="793459"/>
                </a:cubicBezTo>
                <a:cubicBezTo>
                  <a:pt x="1405817" y="762439"/>
                  <a:pt x="1355072" y="717152"/>
                  <a:pt x="1317540" y="661666"/>
                </a:cubicBezTo>
                <a:cubicBezTo>
                  <a:pt x="1279187" y="717026"/>
                  <a:pt x="1228104" y="762377"/>
                  <a:pt x="1168571" y="793882"/>
                </a:cubicBezTo>
                <a:cubicBezTo>
                  <a:pt x="1105477" y="826693"/>
                  <a:pt x="1035302" y="843529"/>
                  <a:pt x="964201" y="842961"/>
                </a:cubicBezTo>
                <a:cubicBezTo>
                  <a:pt x="902896" y="843173"/>
                  <a:pt x="842268" y="830275"/>
                  <a:pt x="786360" y="805135"/>
                </a:cubicBezTo>
                <a:cubicBezTo>
                  <a:pt x="733296" y="781132"/>
                  <a:pt x="685713" y="746445"/>
                  <a:pt x="646641" y="703245"/>
                </a:cubicBezTo>
                <a:cubicBezTo>
                  <a:pt x="624683" y="740438"/>
                  <a:pt x="593051" y="771016"/>
                  <a:pt x="555141" y="791709"/>
                </a:cubicBezTo>
                <a:cubicBezTo>
                  <a:pt x="512678" y="814575"/>
                  <a:pt x="465072" y="826250"/>
                  <a:pt x="416856" y="825640"/>
                </a:cubicBezTo>
                <a:lnTo>
                  <a:pt x="0" y="825640"/>
                </a:lnTo>
                <a:lnTo>
                  <a:pt x="0" y="17341"/>
                </a:lnTo>
                <a:lnTo>
                  <a:pt x="377596" y="17341"/>
                </a:lnTo>
                <a:cubicBezTo>
                  <a:pt x="433040" y="16434"/>
                  <a:pt x="487515" y="31903"/>
                  <a:pt x="534216" y="61807"/>
                </a:cubicBezTo>
                <a:cubicBezTo>
                  <a:pt x="575666" y="88591"/>
                  <a:pt x="606793" y="128713"/>
                  <a:pt x="622408" y="175540"/>
                </a:cubicBezTo>
                <a:cubicBezTo>
                  <a:pt x="661120" y="122244"/>
                  <a:pt x="711738" y="78708"/>
                  <a:pt x="770196" y="48382"/>
                </a:cubicBezTo>
                <a:cubicBezTo>
                  <a:pt x="831921" y="16414"/>
                  <a:pt x="900451" y="-171"/>
                  <a:pt x="969973" y="17"/>
                </a:cubicBezTo>
                <a:close/>
              </a:path>
            </a:pathLst>
          </a:custGeom>
          <a:solidFill>
            <a:srgbClr val="FFFFFF"/>
          </a:solidFill>
          <a:ln w="9525" cap="flat">
            <a:noFill/>
            <a:prstDash val="solid"/>
            <a:round/>
          </a:ln>
        </p:spPr>
        <p:txBody>
          <a:bodyPr wrap="square" rtlCol="0" anchor="ctr">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4543959" y="0"/>
            <a:ext cx="417600" cy="6858000"/>
          </a:xfrm>
          <a:prstGeom prst="rect">
            <a:avLst/>
          </a:prstGeom>
        </p:spPr>
      </p:pic>
      <p:sp>
        <p:nvSpPr>
          <p:cNvPr id="12" name="PanelGray"/>
          <p:cNvSpPr/>
          <p:nvPr userDrawn="1"/>
        </p:nvSpPr>
        <p:spPr>
          <a:xfrm>
            <a:off x="4953000" y="0"/>
            <a:ext cx="4953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4952400" y="0"/>
            <a:ext cx="4953600"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extBox 14"/>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
          <a:xfrm>
            <a:off x="629999" y="1785600"/>
            <a:ext cx="3469151" cy="3286800"/>
          </a:xfrm>
          <a:prstGeom prst="rect">
            <a:avLst/>
          </a:prstGeom>
          <a:noFill/>
        </p:spPr>
        <p:txBody>
          <a:bodyPr wrap="square" lIns="0" tIns="0" rIns="320040" bIns="0"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7"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907106" y="0"/>
            <a:ext cx="416951" cy="6858000"/>
          </a:xfrm>
          <a:prstGeom prst="rect">
            <a:avLst/>
          </a:prstGeom>
        </p:spPr>
      </p:pic>
      <p:sp>
        <p:nvSpPr>
          <p:cNvPr id="66" name="PanelGray"/>
          <p:cNvSpPr/>
          <p:nvPr userDrawn="1"/>
        </p:nvSpPr>
        <p:spPr bwMode="gray">
          <a:xfrm>
            <a:off x="6316800" y="0"/>
            <a:ext cx="3589200"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6318000" y="0"/>
            <a:ext cx="3588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2" name="Date Placeholder 2"/>
          <p:cNvSpPr>
            <a:spLocks noGrp="1"/>
          </p:cNvSpPr>
          <p:nvPr userDrawn="1">
            <p:ph type="dt" sz="half" idx="12"/>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7199338"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userDrawn="1">
            <p:ph type="title" hasCustomPrompt="1"/>
          </p:nvPr>
        </p:nvSpPr>
        <p:spPr bwMode="blackWhite">
          <a:xfrm>
            <a:off x="629999" y="1785600"/>
            <a:ext cx="4948007" cy="3286800"/>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6"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1" name="ArrowPanelGray"/>
          <p:cNvSpPr/>
          <p:nvPr userDrawn="1"/>
        </p:nvSpPr>
        <p:spPr bwMode="ltGray">
          <a:xfrm>
            <a:off x="0" y="0"/>
            <a:ext cx="3357450"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2"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5" name="Date Placeholder 4"/>
          <p:cNvSpPr>
            <a:spLocks noGrp="1"/>
          </p:cNvSpPr>
          <p:nvPr userDrawn="1">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itle 2"/>
          <p:cNvSpPr>
            <a:spLocks noGrp="1"/>
          </p:cNvSpPr>
          <p:nvPr userDrawn="1">
            <p:ph type="title" hasCustomPrompt="1"/>
          </p:nvPr>
        </p:nvSpPr>
        <p:spPr>
          <a:xfrm>
            <a:off x="630001" y="2680200"/>
            <a:ext cx="1984300" cy="1497600"/>
          </a:xfrm>
          <a:prstGeom prst="rect">
            <a:avLst/>
          </a:prstGeom>
        </p:spPr>
        <p:txBody>
          <a:bodyPr anchor="ctr">
            <a:noAutofit/>
          </a:bodyPr>
          <a:lstStyle>
            <a:lvl1pPr>
              <a:defRPr sz="28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403086"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61" name="ArrowPanelGray"/>
          <p:cNvSpPr/>
          <p:nvPr userDrawn="1"/>
        </p:nvSpPr>
        <p:spPr bwMode="ltGray">
          <a:xfrm>
            <a:off x="0" y="0"/>
            <a:ext cx="3357450"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7" name="Title 6"/>
          <p:cNvSpPr>
            <a:spLocks noGrp="1"/>
          </p:cNvSpPr>
          <p:nvPr>
            <p:ph type="title" hasCustomPrompt="1"/>
          </p:nvPr>
        </p:nvSpPr>
        <p:spPr>
          <a:xfrm>
            <a:off x="630001" y="2680199"/>
            <a:ext cx="1984300" cy="1497600"/>
          </a:xfrm>
        </p:spPr>
        <p:txBody>
          <a:bodyPr anchor="ctr" anchorCtr="0">
            <a:noAutofit/>
          </a:bodyPr>
          <a:lstStyle>
            <a:lvl1pPr>
              <a:defRPr sz="2800">
                <a:solidFill>
                  <a:srgbClr val="FFFFFF"/>
                </a:solidFill>
                <a:latin typeface="+mj-lt"/>
              </a:defRPr>
            </a:lvl1pPr>
          </a:lstStyle>
          <a:p>
            <a:r>
              <a:rPr lang="en-US" dirty="0"/>
              <a:t>Click to add title</a:t>
            </a:r>
          </a:p>
        </p:txBody>
      </p:sp>
      <p:sp>
        <p:nvSpPr>
          <p:cNvPr id="13"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1445985"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55002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3" name="ArrowPanelGray"/>
          <p:cNvSpPr>
            <a:spLocks noChangeArrowheads="1"/>
          </p:cNvSpPr>
          <p:nvPr userDrawn="1"/>
        </p:nvSpPr>
        <p:spPr bwMode="auto">
          <a:xfrm>
            <a:off x="-1" y="0"/>
            <a:ext cx="4461458"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2"/>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ndParaRPr>
          </a:p>
        </p:txBody>
      </p:sp>
      <p:sp>
        <p:nvSpPr>
          <p:cNvPr id="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userDrawn="1">
            <p:ph type="dt" sz="half" idx="11"/>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4" name="Title 1"/>
          <p:cNvSpPr>
            <a:spLocks noGrp="1"/>
          </p:cNvSpPr>
          <p:nvPr userDrawn="1">
            <p:ph type="title" hasCustomPrompt="1"/>
          </p:nvPr>
        </p:nvSpPr>
        <p:spPr>
          <a:xfrm>
            <a:off x="630000" y="1785600"/>
            <a:ext cx="3213000" cy="3286800"/>
          </a:xfrm>
          <a:prstGeom prst="rect">
            <a:avLst/>
          </a:prstGeom>
        </p:spPr>
        <p:txBody>
          <a:bodyPr anchor="ctr">
            <a:noAutofit/>
          </a:bodyPr>
          <a:lstStyle>
            <a:lvl1pPr>
              <a:defRPr sz="32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619477"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63" name="ArrowPanelGray"/>
          <p:cNvSpPr>
            <a:spLocks noChangeArrowheads="1"/>
          </p:cNvSpPr>
          <p:nvPr userDrawn="1"/>
        </p:nvSpPr>
        <p:spPr bwMode="auto">
          <a:xfrm>
            <a:off x="-1" y="0"/>
            <a:ext cx="4461458"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ndParaRPr>
          </a:p>
        </p:txBody>
      </p:sp>
      <p:sp>
        <p:nvSpPr>
          <p:cNvPr id="14" name="Title 1"/>
          <p:cNvSpPr>
            <a:spLocks noGrp="1"/>
          </p:cNvSpPr>
          <p:nvPr userDrawn="1">
            <p:ph type="title" hasCustomPrompt="1"/>
          </p:nvPr>
        </p:nvSpPr>
        <p:spPr>
          <a:xfrm>
            <a:off x="630000" y="1785600"/>
            <a:ext cx="3213000" cy="3286800"/>
          </a:xfrm>
          <a:prstGeom prst="rect">
            <a:avLst/>
          </a:prstGeom>
        </p:spPr>
        <p:txBody>
          <a:bodyPr anchor="ctr">
            <a:noAutofit/>
          </a:bodyPr>
          <a:lstStyle>
            <a:lvl1pPr>
              <a:defRPr sz="3200" b="0">
                <a:solidFill>
                  <a:srgbClr val="FFFFFF"/>
                </a:solidFill>
                <a:latin typeface="+mj-lt"/>
                <a:sym typeface="Trebuchet MS" panose="020B0603020202020204" pitchFamily="34" charset="0"/>
              </a:defRPr>
            </a:lvl1pPr>
          </a:lstStyle>
          <a:p>
            <a:r>
              <a:rPr lang="en-US" dirty="0"/>
              <a:t>Click to add title</a:t>
            </a:r>
          </a:p>
        </p:txBody>
      </p:sp>
      <p:sp>
        <p:nvSpPr>
          <p:cNvPr id="13"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2611272"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97153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6" name="ArrowPanelGray"/>
          <p:cNvSpPr/>
          <p:nvPr userDrawn="1"/>
        </p:nvSpPr>
        <p:spPr bwMode="white">
          <a:xfrm>
            <a:off x="2" y="0"/>
            <a:ext cx="5221051"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6"/>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3697150" cy="387798"/>
          </a:xfrm>
          <a:prstGeom prst="rect">
            <a:avLst/>
          </a:prstGeom>
        </p:spPr>
        <p:txBody>
          <a:bodyPr wrap="square">
            <a:spAutoFit/>
          </a:bodyPr>
          <a:lstStyle>
            <a:lvl1pPr>
              <a:defRPr sz="28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54773"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66" name="ArrowPanelGray"/>
          <p:cNvSpPr/>
          <p:nvPr userDrawn="1"/>
        </p:nvSpPr>
        <p:spPr bwMode="white">
          <a:xfrm>
            <a:off x="2" y="0"/>
            <a:ext cx="5221051"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3697150" cy="387798"/>
          </a:xfrm>
          <a:prstGeom prst="rect">
            <a:avLst/>
          </a:prstGeom>
        </p:spPr>
        <p:txBody>
          <a:bodyPr wrap="square">
            <a:spAutoFit/>
          </a:bodyPr>
          <a:lstStyle>
            <a:lvl1pPr>
              <a:defRPr sz="2800">
                <a:solidFill>
                  <a:srgbClr val="FFFFFF"/>
                </a:solidFill>
                <a:latin typeface="+mj-lt"/>
                <a:sym typeface="Trebuchet MS" panose="020B0603020202020204" pitchFamily="34" charset="0"/>
              </a:defRPr>
            </a:lvl1pPr>
          </a:lstStyle>
          <a:p>
            <a:r>
              <a:rPr lang="en-US" dirty="0"/>
              <a:t>Click to add title</a:t>
            </a:r>
          </a:p>
        </p:txBody>
      </p:sp>
      <p:sp>
        <p:nvSpPr>
          <p:cNvPr id="12"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3"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3317161"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7488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4" name="ArrowPanelGray"/>
          <p:cNvSpPr/>
          <p:nvPr userDrawn="1"/>
        </p:nvSpPr>
        <p:spPr bwMode="white">
          <a:xfrm>
            <a:off x="0" y="0"/>
            <a:ext cx="68023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4948249" cy="388800"/>
          </a:xfrm>
        </p:spPr>
        <p:txBody>
          <a:bodyPr/>
          <a:lstStyle>
            <a:lvl1pPr>
              <a:defRPr sz="28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847256"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64" name="ArrowPanelGray"/>
          <p:cNvSpPr/>
          <p:nvPr userDrawn="1"/>
        </p:nvSpPr>
        <p:spPr bwMode="white">
          <a:xfrm>
            <a:off x="0" y="0"/>
            <a:ext cx="68023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4948249" cy="388800"/>
          </a:xfrm>
        </p:spPr>
        <p:txBody>
          <a:bodyPr/>
          <a:lstStyle>
            <a:lvl1pPr>
              <a:defRPr sz="2800">
                <a:solidFill>
                  <a:srgbClr val="FFFFFF"/>
                </a:solidFill>
                <a:latin typeface="+mj-lt"/>
                <a:sym typeface="Trebuchet MS" panose="020B0603020202020204" pitchFamily="34" charset="0"/>
              </a:defRPr>
            </a:lvl1pPr>
          </a:lstStyle>
          <a:p>
            <a:r>
              <a:rPr lang="en-US" dirty="0"/>
              <a:t>Click to add title</a:t>
            </a:r>
          </a:p>
        </p:txBody>
      </p:sp>
      <p:sp>
        <p:nvSpPr>
          <p:cNvPr id="14"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919804"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056891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912800" y="6405036"/>
            <a:ext cx="1033200"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8647200" cy="388800"/>
          </a:xfrm>
        </p:spPr>
        <p:txBody>
          <a:bodyPr/>
          <a:lstStyle>
            <a:lvl1pPr>
              <a:defRPr sz="2800">
                <a:solidFill>
                  <a:schemeClr val="tx2"/>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Page"/>
          <p:cNvSpPr txBox="1"/>
          <p:nvPr/>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8647200"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8647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6" name="Square"/>
          <p:cNvSpPr>
            <a:spLocks noChangeAspect="1"/>
          </p:cNvSpPr>
          <p:nvPr userDrawn="1"/>
        </p:nvSpPr>
        <p:spPr bwMode="white">
          <a:xfrm>
            <a:off x="630000" y="625475"/>
            <a:ext cx="917717"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pSp>
        <p:nvGrpSpPr>
          <p:cNvPr id="57" name="Bubble"/>
          <p:cNvGrpSpPr/>
          <p:nvPr userDrawn="1"/>
        </p:nvGrpSpPr>
        <p:grpSpPr>
          <a:xfrm>
            <a:off x="1" y="0"/>
            <a:ext cx="9905998" cy="5859885"/>
            <a:chOff x="1" y="0"/>
            <a:chExt cx="9905998" cy="5859885"/>
          </a:xfrm>
        </p:grpSpPr>
        <p:sp>
          <p:nvSpPr>
            <p:cNvPr id="4" name="Rectangle 3"/>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latin typeface="+mn-lt"/>
              </a:endParaRPr>
            </a:p>
          </p:txBody>
        </p:sp>
        <p:sp>
          <p:nvSpPr>
            <p:cNvPr id="56" name="Right Triangle 55"/>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latin typeface="+mn-lt"/>
              </a:endParaRPr>
            </a:p>
          </p:txBody>
        </p:sp>
      </p:grpSp>
      <p:sp>
        <p:nvSpPr>
          <p:cNvPr id="6"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r="3633" b="23083"/>
          <a:stretch/>
        </p:blipFill>
        <p:spPr>
          <a:xfrm rot="16200000" flipH="1">
            <a:off x="5618810" y="1266443"/>
            <a:ext cx="769257" cy="7805121"/>
          </a:xfrm>
          <a:custGeom>
            <a:avLst/>
            <a:gdLst>
              <a:gd name="connsiteX0" fmla="*/ 0 w 769257"/>
              <a:gd name="connsiteY0" fmla="*/ 1864718 h 7805121"/>
              <a:gd name="connsiteX1" fmla="*/ 0 w 769257"/>
              <a:gd name="connsiteY1" fmla="*/ 3372163 h 7805121"/>
              <a:gd name="connsiteX2" fmla="*/ 119296 w 769257"/>
              <a:gd name="connsiteY2" fmla="*/ 1933159 h 7805121"/>
              <a:gd name="connsiteX3" fmla="*/ 0 w 769257"/>
              <a:gd name="connsiteY3" fmla="*/ 0 h 7805121"/>
              <a:gd name="connsiteX4" fmla="*/ 0 w 769257"/>
              <a:gd name="connsiteY4" fmla="*/ 226161 h 7805121"/>
              <a:gd name="connsiteX5" fmla="*/ 201963 w 769257"/>
              <a:gd name="connsiteY5" fmla="*/ 8910 h 7805121"/>
              <a:gd name="connsiteX6" fmla="*/ 197200 w 769257"/>
              <a:gd name="connsiteY6" fmla="*/ 75585 h 7805121"/>
              <a:gd name="connsiteX7" fmla="*/ 199428 w 769257"/>
              <a:gd name="connsiteY7" fmla="*/ 966566 h 7805121"/>
              <a:gd name="connsiteX8" fmla="*/ 206725 w 769257"/>
              <a:gd name="connsiteY8" fmla="*/ 878542 h 7805121"/>
              <a:gd name="connsiteX9" fmla="*/ 206725 w 769257"/>
              <a:gd name="connsiteY9" fmla="*/ 7805121 h 7805121"/>
              <a:gd name="connsiteX10" fmla="*/ 769257 w 769257"/>
              <a:gd name="connsiteY10" fmla="*/ 7805121 h 7805121"/>
              <a:gd name="connsiteX11" fmla="*/ 769257 w 769257"/>
              <a:gd name="connsiteY11" fmla="*/ 0 h 78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257" h="7805121">
                <a:moveTo>
                  <a:pt x="0" y="1864718"/>
                </a:moveTo>
                <a:lnTo>
                  <a:pt x="0" y="3372163"/>
                </a:lnTo>
                <a:lnTo>
                  <a:pt x="119296" y="1933159"/>
                </a:lnTo>
                <a:close/>
                <a:moveTo>
                  <a:pt x="0" y="0"/>
                </a:moveTo>
                <a:lnTo>
                  <a:pt x="0" y="226161"/>
                </a:lnTo>
                <a:lnTo>
                  <a:pt x="201963" y="8910"/>
                </a:lnTo>
                <a:lnTo>
                  <a:pt x="197200" y="75585"/>
                </a:lnTo>
                <a:lnTo>
                  <a:pt x="199428" y="966566"/>
                </a:lnTo>
                <a:lnTo>
                  <a:pt x="206725" y="878542"/>
                </a:lnTo>
                <a:lnTo>
                  <a:pt x="206725" y="7805121"/>
                </a:lnTo>
                <a:lnTo>
                  <a:pt x="769257" y="7805121"/>
                </a:lnTo>
                <a:lnTo>
                  <a:pt x="769257" y="0"/>
                </a:lnTo>
                <a:close/>
              </a:path>
            </a:pathLst>
          </a:custGeom>
        </p:spPr>
      </p:pic>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Page"/>
          <p:cNvSpPr txBox="1"/>
          <p:nvPr userDrawn="1"/>
        </p:nvSpPr>
        <p:spPr bwMode="white">
          <a:xfrm>
            <a:off x="8953200" y="6404400"/>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8647200" cy="388800"/>
          </a:xfrm>
        </p:spPr>
        <p:txBody>
          <a:bodyPr/>
          <a:lstStyle>
            <a:lvl1pPr>
              <a:defRPr sz="2800">
                <a:solidFill>
                  <a:schemeClr val="bg1"/>
                </a:solidFill>
                <a:latin typeface="+mj-lt"/>
                <a:sym typeface="Trebuchet MS" panose="020B0603020202020204" pitchFamily="34" charset="0"/>
              </a:defRPr>
            </a:lvl1pPr>
          </a:lstStyle>
          <a:p>
            <a:r>
              <a:rPr lang="en-US" dirty="0"/>
              <a:t>Click to add title</a:t>
            </a:r>
          </a:p>
        </p:txBody>
      </p:sp>
      <p:sp>
        <p:nvSpPr>
          <p:cNvPr id="9"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Page"/>
          <p:cNvSpPr txBox="1"/>
          <p:nvPr userDrawn="1"/>
        </p:nvSpPr>
        <p:spPr bwMode="white">
          <a:xfrm>
            <a:off x="8953200" y="6404400"/>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p:nvSpPr>
        <p:spPr>
          <a:xfrm>
            <a:off x="4100401" y="1559258"/>
            <a:ext cx="5176200" cy="3739485"/>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directors or senior management of the Client and solely for the limited purposes described in the</a:t>
            </a:r>
            <a:r>
              <a:rPr lang="en-US" sz="900" b="0" baseline="0" dirty="0">
                <a:latin typeface="+mn-lt"/>
                <a:sym typeface="Trebuchet MS" panose="020B0603020202020204" pitchFamily="34" charset="0"/>
              </a:rPr>
              <a:t> </a:t>
            </a:r>
            <a:r>
              <a:rPr lang="en-US" sz="900" b="0" dirty="0">
                <a:latin typeface="+mn-lt"/>
                <a:sym typeface="Trebuchet MS" panose="020B0603020202020204" pitchFamily="34" charset="0"/>
              </a:rPr>
              <a:t>presentation. The materials shall not be copied or given to any person or entity other than the Client (“Third Party”) without the prior written consent of BCG. These materials serve only a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he focus for discussion; they are incomplete without the accompanying oral commentary and may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cxnSp>
        <p:nvCxnSpPr>
          <p:cNvPr id="9" name="Line"/>
          <p:cNvCxnSpPr/>
          <p:nvPr/>
        </p:nvCxnSpPr>
        <p:spPr>
          <a:xfrm>
            <a:off x="3587400" y="1575000"/>
            <a:ext cx="0" cy="3708000"/>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 name="Title 6"/>
          <p:cNvSpPr txBox="1">
            <a:spLocks/>
          </p:cNvSpPr>
          <p:nvPr/>
        </p:nvSpPr>
        <p:spPr>
          <a:xfrm>
            <a:off x="629999" y="3124301"/>
            <a:ext cx="2729601" cy="6093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400" dirty="0">
                <a:gradFill>
                  <a:gsLst>
                    <a:gs pos="100000">
                      <a:schemeClr val="tx2"/>
                    </a:gs>
                    <a:gs pos="2000">
                      <a:schemeClr val="accent2"/>
                    </a:gs>
                  </a:gsLst>
                  <a:lin ang="2700000" scaled="0"/>
                </a:gradFill>
                <a:latin typeface="+mn-lt"/>
                <a:sym typeface="Trebuchet MS" panose="020B0603020202020204" pitchFamily="34" charset="0"/>
              </a:rPr>
              <a:t>Disclaimer</a:t>
            </a:r>
          </a:p>
        </p:txBody>
      </p:sp>
      <p:sp>
        <p:nvSpPr>
          <p:cNvPr id="11"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5224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1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l="9375" r="9375"/>
          <a:stretch/>
        </p:blipFill>
        <p:spPr>
          <a:xfrm flipH="1">
            <a:off x="0" y="0"/>
            <a:ext cx="9906000" cy="6858000"/>
          </a:xfrm>
          <a:prstGeom prst="rect">
            <a:avLst/>
          </a:prstGeom>
        </p:spPr>
      </p:pic>
      <p:sp>
        <p:nvSpPr>
          <p:cNvPr id="14" name="PanelGreen"/>
          <p:cNvSpPr>
            <a:spLocks noChangeAspect="1"/>
          </p:cNvSpPr>
          <p:nvPr userDrawn="1"/>
        </p:nvSpPr>
        <p:spPr bwMode="black">
          <a:xfrm>
            <a:off x="629999" y="622800"/>
            <a:ext cx="6427349" cy="5533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URL"/>
          <p:cNvSpPr txBox="1"/>
          <p:nvPr/>
        </p:nvSpPr>
        <p:spPr bwMode="white">
          <a:xfrm>
            <a:off x="885600" y="5715178"/>
            <a:ext cx="68315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8" name="Freeform 7">
            <a:extLst>
              <a:ext uri="{FF2B5EF4-FFF2-40B4-BE49-F238E27FC236}">
                <a16:creationId xmlns:a16="http://schemas.microsoft.com/office/drawing/2014/main" xmlns="" id="{B12DC091-DC3C-4E05-827B-1C699903C407}"/>
              </a:ext>
            </a:extLst>
          </p:cNvPr>
          <p:cNvSpPr>
            <a:spLocks noChangeAspect="1"/>
          </p:cNvSpPr>
          <p:nvPr userDrawn="1">
            <p:custDataLst>
              <p:tags r:id="rId4"/>
            </p:custDataLst>
          </p:nvPr>
        </p:nvSpPr>
        <p:spPr>
          <a:xfrm>
            <a:off x="2234329" y="3052965"/>
            <a:ext cx="3218689" cy="672870"/>
          </a:xfrm>
          <a:custGeom>
            <a:avLst/>
            <a:gdLst>
              <a:gd name="connsiteX0" fmla="*/ 3149701 w 4032385"/>
              <a:gd name="connsiteY0" fmla="*/ 673171 h 842974"/>
              <a:gd name="connsiteX1" fmla="*/ 3149701 w 4032385"/>
              <a:gd name="connsiteY1" fmla="*/ 738035 h 842974"/>
              <a:gd name="connsiteX2" fmla="*/ 3190456 w 4032385"/>
              <a:gd name="connsiteY2" fmla="*/ 738035 h 842974"/>
              <a:gd name="connsiteX3" fmla="*/ 3213869 w 4032385"/>
              <a:gd name="connsiteY3" fmla="*/ 729354 h 842974"/>
              <a:gd name="connsiteX4" fmla="*/ 3213869 w 4032385"/>
              <a:gd name="connsiteY4" fmla="*/ 682023 h 842974"/>
              <a:gd name="connsiteX5" fmla="*/ 3190456 w 4032385"/>
              <a:gd name="connsiteY5" fmla="*/ 673171 h 842974"/>
              <a:gd name="connsiteX6" fmla="*/ 2552665 w 4032385"/>
              <a:gd name="connsiteY6" fmla="*/ 673171 h 842974"/>
              <a:gd name="connsiteX7" fmla="*/ 2552665 w 4032385"/>
              <a:gd name="connsiteY7" fmla="*/ 735465 h 842974"/>
              <a:gd name="connsiteX8" fmla="*/ 2596244 w 4032385"/>
              <a:gd name="connsiteY8" fmla="*/ 735465 h 842974"/>
              <a:gd name="connsiteX9" fmla="*/ 2618835 w 4032385"/>
              <a:gd name="connsiteY9" fmla="*/ 727161 h 842974"/>
              <a:gd name="connsiteX10" fmla="*/ 2627771 w 4032385"/>
              <a:gd name="connsiteY10" fmla="*/ 704444 h 842974"/>
              <a:gd name="connsiteX11" fmla="*/ 2618835 w 4032385"/>
              <a:gd name="connsiteY11" fmla="*/ 681706 h 842974"/>
              <a:gd name="connsiteX12" fmla="*/ 2596244 w 4032385"/>
              <a:gd name="connsiteY12" fmla="*/ 673171 h 842974"/>
              <a:gd name="connsiteX13" fmla="*/ 2785970 w 4032385"/>
              <a:gd name="connsiteY13" fmla="*/ 669841 h 842974"/>
              <a:gd name="connsiteX14" fmla="*/ 2739924 w 4032385"/>
              <a:gd name="connsiteY14" fmla="*/ 689229 h 842974"/>
              <a:gd name="connsiteX15" fmla="*/ 2739924 w 4032385"/>
              <a:gd name="connsiteY15" fmla="*/ 783745 h 842974"/>
              <a:gd name="connsiteX16" fmla="*/ 2785906 w 4032385"/>
              <a:gd name="connsiteY16" fmla="*/ 803132 h 842974"/>
              <a:gd name="connsiteX17" fmla="*/ 2832099 w 4032385"/>
              <a:gd name="connsiteY17" fmla="*/ 783829 h 842974"/>
              <a:gd name="connsiteX18" fmla="*/ 2832015 w 4032385"/>
              <a:gd name="connsiteY18" fmla="*/ 689229 h 842974"/>
              <a:gd name="connsiteX19" fmla="*/ 2785970 w 4032385"/>
              <a:gd name="connsiteY19" fmla="*/ 669841 h 842974"/>
              <a:gd name="connsiteX20" fmla="*/ 3120744 w 4032385"/>
              <a:gd name="connsiteY20" fmla="*/ 646767 h 842974"/>
              <a:gd name="connsiteX21" fmla="*/ 3190456 w 4032385"/>
              <a:gd name="connsiteY21" fmla="*/ 646767 h 842974"/>
              <a:gd name="connsiteX22" fmla="*/ 3235953 w 4032385"/>
              <a:gd name="connsiteY22" fmla="*/ 663688 h 842974"/>
              <a:gd name="connsiteX23" fmla="*/ 3235953 w 4032385"/>
              <a:gd name="connsiteY23" fmla="*/ 746739 h 842974"/>
              <a:gd name="connsiteX24" fmla="*/ 3190456 w 4032385"/>
              <a:gd name="connsiteY24" fmla="*/ 763662 h 842974"/>
              <a:gd name="connsiteX25" fmla="*/ 3149701 w 4032385"/>
              <a:gd name="connsiteY25" fmla="*/ 763662 h 842974"/>
              <a:gd name="connsiteX26" fmla="*/ 3149701 w 4032385"/>
              <a:gd name="connsiteY26" fmla="*/ 826186 h 842974"/>
              <a:gd name="connsiteX27" fmla="*/ 3120744 w 4032385"/>
              <a:gd name="connsiteY27" fmla="*/ 826186 h 842974"/>
              <a:gd name="connsiteX28" fmla="*/ 2919303 w 4032385"/>
              <a:gd name="connsiteY28" fmla="*/ 646767 h 842974"/>
              <a:gd name="connsiteX29" fmla="*/ 2948257 w 4032385"/>
              <a:gd name="connsiteY29" fmla="*/ 646767 h 842974"/>
              <a:gd name="connsiteX30" fmla="*/ 2948257 w 4032385"/>
              <a:gd name="connsiteY30" fmla="*/ 756728 h 842974"/>
              <a:gd name="connsiteX31" fmla="*/ 2960691 w 4032385"/>
              <a:gd name="connsiteY31" fmla="*/ 789855 h 842974"/>
              <a:gd name="connsiteX32" fmla="*/ 3026757 w 4032385"/>
              <a:gd name="connsiteY32" fmla="*/ 789855 h 842974"/>
              <a:gd name="connsiteX33" fmla="*/ 3039233 w 4032385"/>
              <a:gd name="connsiteY33" fmla="*/ 756728 h 842974"/>
              <a:gd name="connsiteX34" fmla="*/ 3039233 w 4032385"/>
              <a:gd name="connsiteY34" fmla="*/ 646767 h 842974"/>
              <a:gd name="connsiteX35" fmla="*/ 3067681 w 4032385"/>
              <a:gd name="connsiteY35" fmla="*/ 646767 h 842974"/>
              <a:gd name="connsiteX36" fmla="*/ 3067681 w 4032385"/>
              <a:gd name="connsiteY36" fmla="*/ 757003 h 842974"/>
              <a:gd name="connsiteX37" fmla="*/ 3046607 w 4032385"/>
              <a:gd name="connsiteY37" fmla="*/ 809285 h 842974"/>
              <a:gd name="connsiteX38" fmla="*/ 2940503 w 4032385"/>
              <a:gd name="connsiteY38" fmla="*/ 809285 h 842974"/>
              <a:gd name="connsiteX39" fmla="*/ 2919303 w 4032385"/>
              <a:gd name="connsiteY39" fmla="*/ 757003 h 842974"/>
              <a:gd name="connsiteX40" fmla="*/ 2523708 w 4032385"/>
              <a:gd name="connsiteY40" fmla="*/ 646767 h 842974"/>
              <a:gd name="connsiteX41" fmla="*/ 2596244 w 4032385"/>
              <a:gd name="connsiteY41" fmla="*/ 646767 h 842974"/>
              <a:gd name="connsiteX42" fmla="*/ 2640900 w 4032385"/>
              <a:gd name="connsiteY42" fmla="*/ 663414 h 842974"/>
              <a:gd name="connsiteX43" fmla="*/ 2646926 w 4032385"/>
              <a:gd name="connsiteY43" fmla="*/ 738816 h 842974"/>
              <a:gd name="connsiteX44" fmla="*/ 2617529 w 4032385"/>
              <a:gd name="connsiteY44" fmla="*/ 758014 h 842974"/>
              <a:gd name="connsiteX45" fmla="*/ 2638919 w 4032385"/>
              <a:gd name="connsiteY45" fmla="*/ 792090 h 842974"/>
              <a:gd name="connsiteX46" fmla="*/ 2660329 w 4032385"/>
              <a:gd name="connsiteY46" fmla="*/ 826186 h 842974"/>
              <a:gd name="connsiteX47" fmla="*/ 2626738 w 4032385"/>
              <a:gd name="connsiteY47" fmla="*/ 826186 h 842974"/>
              <a:gd name="connsiteX48" fmla="*/ 2606888 w 4032385"/>
              <a:gd name="connsiteY48" fmla="*/ 793776 h 842974"/>
              <a:gd name="connsiteX49" fmla="*/ 2587015 w 4032385"/>
              <a:gd name="connsiteY49" fmla="*/ 761344 h 842974"/>
              <a:gd name="connsiteX50" fmla="*/ 2552665 w 4032385"/>
              <a:gd name="connsiteY50" fmla="*/ 761344 h 842974"/>
              <a:gd name="connsiteX51" fmla="*/ 2552665 w 4032385"/>
              <a:gd name="connsiteY51" fmla="*/ 826186 h 842974"/>
              <a:gd name="connsiteX52" fmla="*/ 2523708 w 4032385"/>
              <a:gd name="connsiteY52" fmla="*/ 826186 h 842974"/>
              <a:gd name="connsiteX53" fmla="*/ 2785971 w 4032385"/>
              <a:gd name="connsiteY53" fmla="*/ 643110 h 842974"/>
              <a:gd name="connsiteX54" fmla="*/ 2852899 w 4032385"/>
              <a:gd name="connsiteY54" fmla="*/ 670390 h 842974"/>
              <a:gd name="connsiteX55" fmla="*/ 2880486 w 4032385"/>
              <a:gd name="connsiteY55" fmla="*/ 736498 h 842974"/>
              <a:gd name="connsiteX56" fmla="*/ 2852899 w 4032385"/>
              <a:gd name="connsiteY56" fmla="*/ 802584 h 842974"/>
              <a:gd name="connsiteX57" fmla="*/ 2785906 w 4032385"/>
              <a:gd name="connsiteY57" fmla="*/ 830042 h 842974"/>
              <a:gd name="connsiteX58" fmla="*/ 2719041 w 4032385"/>
              <a:gd name="connsiteY58" fmla="*/ 802584 h 842974"/>
              <a:gd name="connsiteX59" fmla="*/ 2691582 w 4032385"/>
              <a:gd name="connsiteY59" fmla="*/ 736498 h 842974"/>
              <a:gd name="connsiteX60" fmla="*/ 2719041 w 4032385"/>
              <a:gd name="connsiteY60" fmla="*/ 670390 h 842974"/>
              <a:gd name="connsiteX61" fmla="*/ 2785971 w 4032385"/>
              <a:gd name="connsiteY61" fmla="*/ 643110 h 842974"/>
              <a:gd name="connsiteX62" fmla="*/ 2396594 w 4032385"/>
              <a:gd name="connsiteY62" fmla="*/ 642931 h 842974"/>
              <a:gd name="connsiteX63" fmla="*/ 2426982 w 4032385"/>
              <a:gd name="connsiteY63" fmla="*/ 647040 h 842974"/>
              <a:gd name="connsiteX64" fmla="*/ 2452965 w 4032385"/>
              <a:gd name="connsiteY64" fmla="*/ 659600 h 842974"/>
              <a:gd name="connsiteX65" fmla="*/ 2445401 w 4032385"/>
              <a:gd name="connsiteY65" fmla="*/ 671381 h 842974"/>
              <a:gd name="connsiteX66" fmla="*/ 2437856 w 4032385"/>
              <a:gd name="connsiteY66" fmla="*/ 683160 h 842974"/>
              <a:gd name="connsiteX67" fmla="*/ 2418531 w 4032385"/>
              <a:gd name="connsiteY67" fmla="*/ 673045 h 842974"/>
              <a:gd name="connsiteX68" fmla="*/ 2396320 w 4032385"/>
              <a:gd name="connsiteY68" fmla="*/ 669863 h 842974"/>
              <a:gd name="connsiteX69" fmla="*/ 2350611 w 4032385"/>
              <a:gd name="connsiteY69" fmla="*/ 689041 h 842974"/>
              <a:gd name="connsiteX70" fmla="*/ 2332002 w 4032385"/>
              <a:gd name="connsiteY70" fmla="*/ 736498 h 842974"/>
              <a:gd name="connsiteX71" fmla="*/ 2350106 w 4032385"/>
              <a:gd name="connsiteY71" fmla="*/ 784061 h 842974"/>
              <a:gd name="connsiteX72" fmla="*/ 2395309 w 4032385"/>
              <a:gd name="connsiteY72" fmla="*/ 803384 h 842974"/>
              <a:gd name="connsiteX73" fmla="*/ 2435454 w 4032385"/>
              <a:gd name="connsiteY73" fmla="*/ 789161 h 842974"/>
              <a:gd name="connsiteX74" fmla="*/ 2454251 w 4032385"/>
              <a:gd name="connsiteY74" fmla="*/ 753399 h 842974"/>
              <a:gd name="connsiteX75" fmla="*/ 2393265 w 4032385"/>
              <a:gd name="connsiteY75" fmla="*/ 753399 h 842974"/>
              <a:gd name="connsiteX76" fmla="*/ 2401588 w 4032385"/>
              <a:gd name="connsiteY76" fmla="*/ 740332 h 842974"/>
              <a:gd name="connsiteX77" fmla="*/ 2409911 w 4032385"/>
              <a:gd name="connsiteY77" fmla="*/ 727267 h 842974"/>
              <a:gd name="connsiteX78" fmla="*/ 2481690 w 4032385"/>
              <a:gd name="connsiteY78" fmla="*/ 727267 h 842974"/>
              <a:gd name="connsiteX79" fmla="*/ 2482617 w 4032385"/>
              <a:gd name="connsiteY79" fmla="*/ 733000 h 842974"/>
              <a:gd name="connsiteX80" fmla="*/ 2482953 w 4032385"/>
              <a:gd name="connsiteY80" fmla="*/ 740080 h 842974"/>
              <a:gd name="connsiteX81" fmla="*/ 2458507 w 4032385"/>
              <a:gd name="connsiteY81" fmla="*/ 804185 h 842974"/>
              <a:gd name="connsiteX82" fmla="*/ 2395054 w 4032385"/>
              <a:gd name="connsiteY82" fmla="*/ 830042 h 842974"/>
              <a:gd name="connsiteX83" fmla="*/ 2329263 w 4032385"/>
              <a:gd name="connsiteY83" fmla="*/ 802774 h 842974"/>
              <a:gd name="connsiteX84" fmla="*/ 2329938 w 4032385"/>
              <a:gd name="connsiteY84" fmla="*/ 670199 h 842974"/>
              <a:gd name="connsiteX85" fmla="*/ 2396594 w 4032385"/>
              <a:gd name="connsiteY85" fmla="*/ 642931 h 842974"/>
              <a:gd name="connsiteX86" fmla="*/ 175520 w 4032385"/>
              <a:gd name="connsiteY86" fmla="*/ 491918 h 842974"/>
              <a:gd name="connsiteX87" fmla="*/ 175520 w 4032385"/>
              <a:gd name="connsiteY87" fmla="*/ 675531 h 842974"/>
              <a:gd name="connsiteX88" fmla="*/ 414560 w 4032385"/>
              <a:gd name="connsiteY88" fmla="*/ 675531 h 842974"/>
              <a:gd name="connsiteX89" fmla="*/ 482396 w 4032385"/>
              <a:gd name="connsiteY89" fmla="*/ 648832 h 842974"/>
              <a:gd name="connsiteX90" fmla="*/ 510401 w 4032385"/>
              <a:gd name="connsiteY90" fmla="*/ 583146 h 842974"/>
              <a:gd name="connsiteX91" fmla="*/ 482396 w 4032385"/>
              <a:gd name="connsiteY91" fmla="*/ 518049 h 842974"/>
              <a:gd name="connsiteX92" fmla="*/ 414560 w 4032385"/>
              <a:gd name="connsiteY92" fmla="*/ 491918 h 842974"/>
              <a:gd name="connsiteX93" fmla="*/ 2577194 w 4032385"/>
              <a:gd name="connsiteY93" fmla="*/ 355151 h 842974"/>
              <a:gd name="connsiteX94" fmla="*/ 2531149 w 4032385"/>
              <a:gd name="connsiteY94" fmla="*/ 374539 h 842974"/>
              <a:gd name="connsiteX95" fmla="*/ 2531149 w 4032385"/>
              <a:gd name="connsiteY95" fmla="*/ 469052 h 842974"/>
              <a:gd name="connsiteX96" fmla="*/ 2577130 w 4032385"/>
              <a:gd name="connsiteY96" fmla="*/ 488420 h 842974"/>
              <a:gd name="connsiteX97" fmla="*/ 2623324 w 4032385"/>
              <a:gd name="connsiteY97" fmla="*/ 469137 h 842974"/>
              <a:gd name="connsiteX98" fmla="*/ 2623218 w 4032385"/>
              <a:gd name="connsiteY98" fmla="*/ 374539 h 842974"/>
              <a:gd name="connsiteX99" fmla="*/ 2577194 w 4032385"/>
              <a:gd name="connsiteY99" fmla="*/ 355151 h 842974"/>
              <a:gd name="connsiteX100" fmla="*/ 3664168 w 4032385"/>
              <a:gd name="connsiteY100" fmla="*/ 332095 h 842974"/>
              <a:gd name="connsiteX101" fmla="*/ 3699804 w 4032385"/>
              <a:gd name="connsiteY101" fmla="*/ 332095 h 842974"/>
              <a:gd name="connsiteX102" fmla="*/ 3741699 w 4032385"/>
              <a:gd name="connsiteY102" fmla="*/ 399889 h 842974"/>
              <a:gd name="connsiteX103" fmla="*/ 3783614 w 4032385"/>
              <a:gd name="connsiteY103" fmla="*/ 467683 h 842974"/>
              <a:gd name="connsiteX104" fmla="*/ 3783614 w 4032385"/>
              <a:gd name="connsiteY104" fmla="*/ 332095 h 842974"/>
              <a:gd name="connsiteX105" fmla="*/ 3811283 w 4032385"/>
              <a:gd name="connsiteY105" fmla="*/ 332095 h 842974"/>
              <a:gd name="connsiteX106" fmla="*/ 3811283 w 4032385"/>
              <a:gd name="connsiteY106" fmla="*/ 511496 h 842974"/>
              <a:gd name="connsiteX107" fmla="*/ 3777713 w 4032385"/>
              <a:gd name="connsiteY107" fmla="*/ 511496 h 842974"/>
              <a:gd name="connsiteX108" fmla="*/ 3734788 w 4032385"/>
              <a:gd name="connsiteY108" fmla="*/ 442036 h 842974"/>
              <a:gd name="connsiteX109" fmla="*/ 3691839 w 4032385"/>
              <a:gd name="connsiteY109" fmla="*/ 372599 h 842974"/>
              <a:gd name="connsiteX110" fmla="*/ 3691839 w 4032385"/>
              <a:gd name="connsiteY110" fmla="*/ 511496 h 842974"/>
              <a:gd name="connsiteX111" fmla="*/ 3664168 w 4032385"/>
              <a:gd name="connsiteY111" fmla="*/ 511496 h 842974"/>
              <a:gd name="connsiteX112" fmla="*/ 3571276 w 4032385"/>
              <a:gd name="connsiteY112" fmla="*/ 332095 h 842974"/>
              <a:gd name="connsiteX113" fmla="*/ 3600233 w 4032385"/>
              <a:gd name="connsiteY113" fmla="*/ 332095 h 842974"/>
              <a:gd name="connsiteX114" fmla="*/ 3600233 w 4032385"/>
              <a:gd name="connsiteY114" fmla="*/ 511496 h 842974"/>
              <a:gd name="connsiteX115" fmla="*/ 3571276 w 4032385"/>
              <a:gd name="connsiteY115" fmla="*/ 511496 h 842974"/>
              <a:gd name="connsiteX116" fmla="*/ 3385977 w 4032385"/>
              <a:gd name="connsiteY116" fmla="*/ 332095 h 842974"/>
              <a:gd name="connsiteX117" fmla="*/ 3527698 w 4032385"/>
              <a:gd name="connsiteY117" fmla="*/ 332095 h 842974"/>
              <a:gd name="connsiteX118" fmla="*/ 3527698 w 4032385"/>
              <a:gd name="connsiteY118" fmla="*/ 358733 h 842974"/>
              <a:gd name="connsiteX119" fmla="*/ 3471325 w 4032385"/>
              <a:gd name="connsiteY119" fmla="*/ 358733 h 842974"/>
              <a:gd name="connsiteX120" fmla="*/ 3471325 w 4032385"/>
              <a:gd name="connsiteY120" fmla="*/ 511496 h 842974"/>
              <a:gd name="connsiteX121" fmla="*/ 3442096 w 4032385"/>
              <a:gd name="connsiteY121" fmla="*/ 511496 h 842974"/>
              <a:gd name="connsiteX122" fmla="*/ 3442096 w 4032385"/>
              <a:gd name="connsiteY122" fmla="*/ 358733 h 842974"/>
              <a:gd name="connsiteX123" fmla="*/ 3385977 w 4032385"/>
              <a:gd name="connsiteY123" fmla="*/ 358733 h 842974"/>
              <a:gd name="connsiteX124" fmla="*/ 3273572 w 4032385"/>
              <a:gd name="connsiteY124" fmla="*/ 332095 h 842974"/>
              <a:gd name="connsiteX125" fmla="*/ 3302526 w 4032385"/>
              <a:gd name="connsiteY125" fmla="*/ 332095 h 842974"/>
              <a:gd name="connsiteX126" fmla="*/ 3302526 w 4032385"/>
              <a:gd name="connsiteY126" fmla="*/ 484836 h 842974"/>
              <a:gd name="connsiteX127" fmla="*/ 3390951 w 4032385"/>
              <a:gd name="connsiteY127" fmla="*/ 484836 h 842974"/>
              <a:gd name="connsiteX128" fmla="*/ 3390951 w 4032385"/>
              <a:gd name="connsiteY128" fmla="*/ 511496 h 842974"/>
              <a:gd name="connsiteX129" fmla="*/ 3273572 w 4032385"/>
              <a:gd name="connsiteY129" fmla="*/ 511496 h 842974"/>
              <a:gd name="connsiteX130" fmla="*/ 3073730 w 4032385"/>
              <a:gd name="connsiteY130" fmla="*/ 332095 h 842974"/>
              <a:gd name="connsiteX131" fmla="*/ 3102684 w 4032385"/>
              <a:gd name="connsiteY131" fmla="*/ 332095 h 842974"/>
              <a:gd name="connsiteX132" fmla="*/ 3102684 w 4032385"/>
              <a:gd name="connsiteY132" fmla="*/ 442036 h 842974"/>
              <a:gd name="connsiteX133" fmla="*/ 3115118 w 4032385"/>
              <a:gd name="connsiteY133" fmla="*/ 475163 h 842974"/>
              <a:gd name="connsiteX134" fmla="*/ 3181184 w 4032385"/>
              <a:gd name="connsiteY134" fmla="*/ 475163 h 842974"/>
              <a:gd name="connsiteX135" fmla="*/ 3193680 w 4032385"/>
              <a:gd name="connsiteY135" fmla="*/ 442036 h 842974"/>
              <a:gd name="connsiteX136" fmla="*/ 3193680 w 4032385"/>
              <a:gd name="connsiteY136" fmla="*/ 332095 h 842974"/>
              <a:gd name="connsiteX137" fmla="*/ 3222130 w 4032385"/>
              <a:gd name="connsiteY137" fmla="*/ 332095 h 842974"/>
              <a:gd name="connsiteX138" fmla="*/ 3222130 w 4032385"/>
              <a:gd name="connsiteY138" fmla="*/ 442288 h 842974"/>
              <a:gd name="connsiteX139" fmla="*/ 3201056 w 4032385"/>
              <a:gd name="connsiteY139" fmla="*/ 494573 h 842974"/>
              <a:gd name="connsiteX140" fmla="*/ 3094930 w 4032385"/>
              <a:gd name="connsiteY140" fmla="*/ 494573 h 842974"/>
              <a:gd name="connsiteX141" fmla="*/ 3073730 w 4032385"/>
              <a:gd name="connsiteY141" fmla="*/ 442288 h 842974"/>
              <a:gd name="connsiteX142" fmla="*/ 2712886 w 4032385"/>
              <a:gd name="connsiteY142" fmla="*/ 332095 h 842974"/>
              <a:gd name="connsiteX143" fmla="*/ 2748522 w 4032385"/>
              <a:gd name="connsiteY143" fmla="*/ 332095 h 842974"/>
              <a:gd name="connsiteX144" fmla="*/ 2832332 w 4032385"/>
              <a:gd name="connsiteY144" fmla="*/ 467663 h 842974"/>
              <a:gd name="connsiteX145" fmla="*/ 2832332 w 4032385"/>
              <a:gd name="connsiteY145" fmla="*/ 332095 h 842974"/>
              <a:gd name="connsiteX146" fmla="*/ 2860023 w 4032385"/>
              <a:gd name="connsiteY146" fmla="*/ 332095 h 842974"/>
              <a:gd name="connsiteX147" fmla="*/ 2860023 w 4032385"/>
              <a:gd name="connsiteY147" fmla="*/ 511496 h 842974"/>
              <a:gd name="connsiteX148" fmla="*/ 2826431 w 4032385"/>
              <a:gd name="connsiteY148" fmla="*/ 511496 h 842974"/>
              <a:gd name="connsiteX149" fmla="*/ 2740577 w 4032385"/>
              <a:gd name="connsiteY149" fmla="*/ 372579 h 842974"/>
              <a:gd name="connsiteX150" fmla="*/ 2740577 w 4032385"/>
              <a:gd name="connsiteY150" fmla="*/ 511496 h 842974"/>
              <a:gd name="connsiteX151" fmla="*/ 2712886 w 4032385"/>
              <a:gd name="connsiteY151" fmla="*/ 511496 h 842974"/>
              <a:gd name="connsiteX152" fmla="*/ 2577187 w 4032385"/>
              <a:gd name="connsiteY152" fmla="*/ 328418 h 842974"/>
              <a:gd name="connsiteX153" fmla="*/ 2644123 w 4032385"/>
              <a:gd name="connsiteY153" fmla="*/ 355698 h 842974"/>
              <a:gd name="connsiteX154" fmla="*/ 2671710 w 4032385"/>
              <a:gd name="connsiteY154" fmla="*/ 421786 h 842974"/>
              <a:gd name="connsiteX155" fmla="*/ 2644123 w 4032385"/>
              <a:gd name="connsiteY155" fmla="*/ 487872 h 842974"/>
              <a:gd name="connsiteX156" fmla="*/ 2577130 w 4032385"/>
              <a:gd name="connsiteY156" fmla="*/ 515330 h 842974"/>
              <a:gd name="connsiteX157" fmla="*/ 2510263 w 4032385"/>
              <a:gd name="connsiteY157" fmla="*/ 487872 h 842974"/>
              <a:gd name="connsiteX158" fmla="*/ 2482805 w 4032385"/>
              <a:gd name="connsiteY158" fmla="*/ 421786 h 842974"/>
              <a:gd name="connsiteX159" fmla="*/ 2510263 w 4032385"/>
              <a:gd name="connsiteY159" fmla="*/ 355698 h 842974"/>
              <a:gd name="connsiteX160" fmla="*/ 2577187 w 4032385"/>
              <a:gd name="connsiteY160" fmla="*/ 328418 h 842974"/>
              <a:gd name="connsiteX161" fmla="*/ 3945986 w 4032385"/>
              <a:gd name="connsiteY161" fmla="*/ 328239 h 842974"/>
              <a:gd name="connsiteX162" fmla="*/ 3976396 w 4032385"/>
              <a:gd name="connsiteY162" fmla="*/ 332347 h 842974"/>
              <a:gd name="connsiteX163" fmla="*/ 4002359 w 4032385"/>
              <a:gd name="connsiteY163" fmla="*/ 344908 h 842974"/>
              <a:gd name="connsiteX164" fmla="*/ 3994814 w 4032385"/>
              <a:gd name="connsiteY164" fmla="*/ 356689 h 842974"/>
              <a:gd name="connsiteX165" fmla="*/ 3987248 w 4032385"/>
              <a:gd name="connsiteY165" fmla="*/ 368468 h 842974"/>
              <a:gd name="connsiteX166" fmla="*/ 3967944 w 4032385"/>
              <a:gd name="connsiteY166" fmla="*/ 358353 h 842974"/>
              <a:gd name="connsiteX167" fmla="*/ 3945733 w 4032385"/>
              <a:gd name="connsiteY167" fmla="*/ 355171 h 842974"/>
              <a:gd name="connsiteX168" fmla="*/ 3900004 w 4032385"/>
              <a:gd name="connsiteY168" fmla="*/ 374349 h 842974"/>
              <a:gd name="connsiteX169" fmla="*/ 3881395 w 4032385"/>
              <a:gd name="connsiteY169" fmla="*/ 421806 h 842974"/>
              <a:gd name="connsiteX170" fmla="*/ 3899498 w 4032385"/>
              <a:gd name="connsiteY170" fmla="*/ 469369 h 842974"/>
              <a:gd name="connsiteX171" fmla="*/ 3944700 w 4032385"/>
              <a:gd name="connsiteY171" fmla="*/ 488692 h 842974"/>
              <a:gd name="connsiteX172" fmla="*/ 3984845 w 4032385"/>
              <a:gd name="connsiteY172" fmla="*/ 474469 h 842974"/>
              <a:gd name="connsiteX173" fmla="*/ 4003664 w 4032385"/>
              <a:gd name="connsiteY173" fmla="*/ 438707 h 842974"/>
              <a:gd name="connsiteX174" fmla="*/ 3942656 w 4032385"/>
              <a:gd name="connsiteY174" fmla="*/ 438707 h 842974"/>
              <a:gd name="connsiteX175" fmla="*/ 3950981 w 4032385"/>
              <a:gd name="connsiteY175" fmla="*/ 425642 h 842974"/>
              <a:gd name="connsiteX176" fmla="*/ 3959327 w 4032385"/>
              <a:gd name="connsiteY176" fmla="*/ 412575 h 842974"/>
              <a:gd name="connsiteX177" fmla="*/ 4031081 w 4032385"/>
              <a:gd name="connsiteY177" fmla="*/ 412575 h 842974"/>
              <a:gd name="connsiteX178" fmla="*/ 4032008 w 4032385"/>
              <a:gd name="connsiteY178" fmla="*/ 418308 h 842974"/>
              <a:gd name="connsiteX179" fmla="*/ 4032366 w 4032385"/>
              <a:gd name="connsiteY179" fmla="*/ 425388 h 842974"/>
              <a:gd name="connsiteX180" fmla="*/ 4007921 w 4032385"/>
              <a:gd name="connsiteY180" fmla="*/ 489493 h 842974"/>
              <a:gd name="connsiteX181" fmla="*/ 3944448 w 4032385"/>
              <a:gd name="connsiteY181" fmla="*/ 515352 h 842974"/>
              <a:gd name="connsiteX182" fmla="*/ 3878676 w 4032385"/>
              <a:gd name="connsiteY182" fmla="*/ 488082 h 842974"/>
              <a:gd name="connsiteX183" fmla="*/ 3879351 w 4032385"/>
              <a:gd name="connsiteY183" fmla="*/ 355507 h 842974"/>
              <a:gd name="connsiteX184" fmla="*/ 3945986 w 4032385"/>
              <a:gd name="connsiteY184" fmla="*/ 328239 h 842974"/>
              <a:gd name="connsiteX185" fmla="*/ 2397605 w 4032385"/>
              <a:gd name="connsiteY185" fmla="*/ 328239 h 842974"/>
              <a:gd name="connsiteX186" fmla="*/ 2457580 w 4032385"/>
              <a:gd name="connsiteY186" fmla="*/ 348217 h 842974"/>
              <a:gd name="connsiteX187" fmla="*/ 2450142 w 4032385"/>
              <a:gd name="connsiteY187" fmla="*/ 359892 h 842974"/>
              <a:gd name="connsiteX188" fmla="*/ 2442724 w 4032385"/>
              <a:gd name="connsiteY188" fmla="*/ 371545 h 842974"/>
              <a:gd name="connsiteX189" fmla="*/ 2421208 w 4032385"/>
              <a:gd name="connsiteY189" fmla="*/ 359176 h 842974"/>
              <a:gd name="connsiteX190" fmla="*/ 2396068 w 4032385"/>
              <a:gd name="connsiteY190" fmla="*/ 354897 h 842974"/>
              <a:gd name="connsiteX191" fmla="*/ 2350675 w 4032385"/>
              <a:gd name="connsiteY191" fmla="*/ 374223 h 842974"/>
              <a:gd name="connsiteX192" fmla="*/ 2350675 w 4032385"/>
              <a:gd name="connsiteY192" fmla="*/ 469369 h 842974"/>
              <a:gd name="connsiteX193" fmla="*/ 2396068 w 4032385"/>
              <a:gd name="connsiteY193" fmla="*/ 488692 h 842974"/>
              <a:gd name="connsiteX194" fmla="*/ 2421208 w 4032385"/>
              <a:gd name="connsiteY194" fmla="*/ 484394 h 842974"/>
              <a:gd name="connsiteX195" fmla="*/ 2442724 w 4032385"/>
              <a:gd name="connsiteY195" fmla="*/ 472024 h 842974"/>
              <a:gd name="connsiteX196" fmla="*/ 2450142 w 4032385"/>
              <a:gd name="connsiteY196" fmla="*/ 483699 h 842974"/>
              <a:gd name="connsiteX197" fmla="*/ 2457580 w 4032385"/>
              <a:gd name="connsiteY197" fmla="*/ 495352 h 842974"/>
              <a:gd name="connsiteX198" fmla="*/ 2397605 w 4032385"/>
              <a:gd name="connsiteY198" fmla="*/ 515330 h 842974"/>
              <a:gd name="connsiteX199" fmla="*/ 2330086 w 4032385"/>
              <a:gd name="connsiteY199" fmla="*/ 488062 h 842974"/>
              <a:gd name="connsiteX200" fmla="*/ 2302521 w 4032385"/>
              <a:gd name="connsiteY200" fmla="*/ 421786 h 842974"/>
              <a:gd name="connsiteX201" fmla="*/ 2330086 w 4032385"/>
              <a:gd name="connsiteY201" fmla="*/ 355507 h 842974"/>
              <a:gd name="connsiteX202" fmla="*/ 2397605 w 4032385"/>
              <a:gd name="connsiteY202" fmla="*/ 328239 h 842974"/>
              <a:gd name="connsiteX203" fmla="*/ 2967329 w 4032385"/>
              <a:gd name="connsiteY203" fmla="*/ 328177 h 842974"/>
              <a:gd name="connsiteX204" fmla="*/ 2967709 w 4032385"/>
              <a:gd name="connsiteY204" fmla="*/ 328177 h 842974"/>
              <a:gd name="connsiteX205" fmla="*/ 2970364 w 4032385"/>
              <a:gd name="connsiteY205" fmla="*/ 328239 h 842974"/>
              <a:gd name="connsiteX206" fmla="*/ 3000226 w 4032385"/>
              <a:gd name="connsiteY206" fmla="*/ 332854 h 842974"/>
              <a:gd name="connsiteX207" fmla="*/ 3024691 w 4032385"/>
              <a:gd name="connsiteY207" fmla="*/ 345162 h 842974"/>
              <a:gd name="connsiteX208" fmla="*/ 3017527 w 4032385"/>
              <a:gd name="connsiteY208" fmla="*/ 356563 h 842974"/>
              <a:gd name="connsiteX209" fmla="*/ 3010341 w 4032385"/>
              <a:gd name="connsiteY209" fmla="*/ 367963 h 842974"/>
              <a:gd name="connsiteX210" fmla="*/ 2990321 w 4032385"/>
              <a:gd name="connsiteY210" fmla="*/ 357910 h 842974"/>
              <a:gd name="connsiteX211" fmla="*/ 2970112 w 4032385"/>
              <a:gd name="connsiteY211" fmla="*/ 354392 h 842974"/>
              <a:gd name="connsiteX212" fmla="*/ 2946720 w 4032385"/>
              <a:gd name="connsiteY212" fmla="*/ 361808 h 842974"/>
              <a:gd name="connsiteX213" fmla="*/ 2939091 w 4032385"/>
              <a:gd name="connsiteY213" fmla="*/ 380017 h 842974"/>
              <a:gd name="connsiteX214" fmla="*/ 2949691 w 4032385"/>
              <a:gd name="connsiteY214" fmla="*/ 397993 h 842974"/>
              <a:gd name="connsiteX215" fmla="*/ 2977802 w 4032385"/>
              <a:gd name="connsiteY215" fmla="*/ 408445 h 842974"/>
              <a:gd name="connsiteX216" fmla="*/ 3015567 w 4032385"/>
              <a:gd name="connsiteY216" fmla="*/ 424987 h 842974"/>
              <a:gd name="connsiteX217" fmla="*/ 3032384 w 4032385"/>
              <a:gd name="connsiteY217" fmla="*/ 460749 h 842974"/>
              <a:gd name="connsiteX218" fmla="*/ 3015819 w 4032385"/>
              <a:gd name="connsiteY218" fmla="*/ 499863 h 842974"/>
              <a:gd name="connsiteX219" fmla="*/ 2969079 w 4032385"/>
              <a:gd name="connsiteY219" fmla="*/ 515330 h 842974"/>
              <a:gd name="connsiteX220" fmla="*/ 2932390 w 4032385"/>
              <a:gd name="connsiteY220" fmla="*/ 509219 h 842974"/>
              <a:gd name="connsiteX221" fmla="*/ 2905520 w 4032385"/>
              <a:gd name="connsiteY221" fmla="*/ 494825 h 842974"/>
              <a:gd name="connsiteX222" fmla="*/ 2919872 w 4032385"/>
              <a:gd name="connsiteY222" fmla="*/ 472024 h 842974"/>
              <a:gd name="connsiteX223" fmla="*/ 2943642 w 4032385"/>
              <a:gd name="connsiteY223" fmla="*/ 484352 h 842974"/>
              <a:gd name="connsiteX224" fmla="*/ 2969353 w 4032385"/>
              <a:gd name="connsiteY224" fmla="*/ 489199 h 842974"/>
              <a:gd name="connsiteX225" fmla="*/ 2994745 w 4032385"/>
              <a:gd name="connsiteY225" fmla="*/ 481528 h 842974"/>
              <a:gd name="connsiteX226" fmla="*/ 3003429 w 4032385"/>
              <a:gd name="connsiteY226" fmla="*/ 462541 h 842974"/>
              <a:gd name="connsiteX227" fmla="*/ 2992723 w 4032385"/>
              <a:gd name="connsiteY227" fmla="*/ 444671 h 842974"/>
              <a:gd name="connsiteX228" fmla="*/ 2964716 w 4032385"/>
              <a:gd name="connsiteY228" fmla="*/ 434091 h 842974"/>
              <a:gd name="connsiteX229" fmla="*/ 2926848 w 4032385"/>
              <a:gd name="connsiteY229" fmla="*/ 417655 h 842974"/>
              <a:gd name="connsiteX230" fmla="*/ 2910135 w 4032385"/>
              <a:gd name="connsiteY230" fmla="*/ 381809 h 842974"/>
              <a:gd name="connsiteX231" fmla="*/ 2926025 w 4032385"/>
              <a:gd name="connsiteY231" fmla="*/ 343306 h 842974"/>
              <a:gd name="connsiteX232" fmla="*/ 2967329 w 4032385"/>
              <a:gd name="connsiteY232" fmla="*/ 328177 h 842974"/>
              <a:gd name="connsiteX233" fmla="*/ 175520 w 4032385"/>
              <a:gd name="connsiteY233" fmla="*/ 167447 h 842974"/>
              <a:gd name="connsiteX234" fmla="*/ 175520 w 4032385"/>
              <a:gd name="connsiteY234" fmla="*/ 344129 h 842974"/>
              <a:gd name="connsiteX235" fmla="*/ 375298 w 4032385"/>
              <a:gd name="connsiteY235" fmla="*/ 344129 h 842974"/>
              <a:gd name="connsiteX236" fmla="*/ 439383 w 4032385"/>
              <a:gd name="connsiteY236" fmla="*/ 318714 h 842974"/>
              <a:gd name="connsiteX237" fmla="*/ 465366 w 4032385"/>
              <a:gd name="connsiteY237" fmla="*/ 255219 h 842974"/>
              <a:gd name="connsiteX238" fmla="*/ 439383 w 4032385"/>
              <a:gd name="connsiteY238" fmla="*/ 192273 h 842974"/>
              <a:gd name="connsiteX239" fmla="*/ 375298 w 4032385"/>
              <a:gd name="connsiteY239" fmla="*/ 167447 h 842974"/>
              <a:gd name="connsiteX240" fmla="*/ 2340453 w 4032385"/>
              <a:gd name="connsiteY240" fmla="*/ 118368 h 842974"/>
              <a:gd name="connsiteX241" fmla="*/ 2340453 w 4032385"/>
              <a:gd name="connsiteY241" fmla="*/ 171157 h 842974"/>
              <a:gd name="connsiteX242" fmla="*/ 2387090 w 4032385"/>
              <a:gd name="connsiteY242" fmla="*/ 171157 h 842974"/>
              <a:gd name="connsiteX243" fmla="*/ 2407130 w 4032385"/>
              <a:gd name="connsiteY243" fmla="*/ 163445 h 842974"/>
              <a:gd name="connsiteX244" fmla="*/ 2415033 w 4032385"/>
              <a:gd name="connsiteY244" fmla="*/ 144710 h 842974"/>
              <a:gd name="connsiteX245" fmla="*/ 2407130 w 4032385"/>
              <a:gd name="connsiteY245" fmla="*/ 125997 h 842974"/>
              <a:gd name="connsiteX246" fmla="*/ 2387784 w 4032385"/>
              <a:gd name="connsiteY246" fmla="*/ 118368 h 842974"/>
              <a:gd name="connsiteX247" fmla="*/ 2387448 w 4032385"/>
              <a:gd name="connsiteY247" fmla="*/ 118368 h 842974"/>
              <a:gd name="connsiteX248" fmla="*/ 2387090 w 4032385"/>
              <a:gd name="connsiteY248" fmla="*/ 118368 h 842974"/>
              <a:gd name="connsiteX249" fmla="*/ 2340453 w 4032385"/>
              <a:gd name="connsiteY249" fmla="*/ 43008 h 842974"/>
              <a:gd name="connsiteX250" fmla="*/ 2340453 w 4032385"/>
              <a:gd name="connsiteY250" fmla="*/ 93248 h 842974"/>
              <a:gd name="connsiteX251" fmla="*/ 2382494 w 4032385"/>
              <a:gd name="connsiteY251" fmla="*/ 93248 h 842974"/>
              <a:gd name="connsiteX252" fmla="*/ 2401103 w 4032385"/>
              <a:gd name="connsiteY252" fmla="*/ 86062 h 842974"/>
              <a:gd name="connsiteX253" fmla="*/ 2401103 w 4032385"/>
              <a:gd name="connsiteY253" fmla="*/ 50194 h 842974"/>
              <a:gd name="connsiteX254" fmla="*/ 2383127 w 4032385"/>
              <a:gd name="connsiteY254" fmla="*/ 43008 h 842974"/>
              <a:gd name="connsiteX255" fmla="*/ 2382811 w 4032385"/>
              <a:gd name="connsiteY255" fmla="*/ 43008 h 842974"/>
              <a:gd name="connsiteX256" fmla="*/ 2382494 w 4032385"/>
              <a:gd name="connsiteY256" fmla="*/ 43008 h 842974"/>
              <a:gd name="connsiteX257" fmla="*/ 3103717 w 4032385"/>
              <a:gd name="connsiteY257" fmla="*/ 40459 h 842974"/>
              <a:gd name="connsiteX258" fmla="*/ 3057672 w 4032385"/>
              <a:gd name="connsiteY258" fmla="*/ 59825 h 842974"/>
              <a:gd name="connsiteX259" fmla="*/ 3057672 w 4032385"/>
              <a:gd name="connsiteY259" fmla="*/ 154340 h 842974"/>
              <a:gd name="connsiteX260" fmla="*/ 3103653 w 4032385"/>
              <a:gd name="connsiteY260" fmla="*/ 173728 h 842974"/>
              <a:gd name="connsiteX261" fmla="*/ 3149847 w 4032385"/>
              <a:gd name="connsiteY261" fmla="*/ 154444 h 842974"/>
              <a:gd name="connsiteX262" fmla="*/ 3149743 w 4032385"/>
              <a:gd name="connsiteY262" fmla="*/ 59825 h 842974"/>
              <a:gd name="connsiteX263" fmla="*/ 3103717 w 4032385"/>
              <a:gd name="connsiteY263" fmla="*/ 40459 h 842974"/>
              <a:gd name="connsiteX264" fmla="*/ 2572073 w 4032385"/>
              <a:gd name="connsiteY264" fmla="*/ 40459 h 842974"/>
              <a:gd name="connsiteX265" fmla="*/ 2526027 w 4032385"/>
              <a:gd name="connsiteY265" fmla="*/ 59825 h 842974"/>
              <a:gd name="connsiteX266" fmla="*/ 2526027 w 4032385"/>
              <a:gd name="connsiteY266" fmla="*/ 154340 h 842974"/>
              <a:gd name="connsiteX267" fmla="*/ 2572011 w 4032385"/>
              <a:gd name="connsiteY267" fmla="*/ 173728 h 842974"/>
              <a:gd name="connsiteX268" fmla="*/ 2618204 w 4032385"/>
              <a:gd name="connsiteY268" fmla="*/ 154444 h 842974"/>
              <a:gd name="connsiteX269" fmla="*/ 2618120 w 4032385"/>
              <a:gd name="connsiteY269" fmla="*/ 59825 h 842974"/>
              <a:gd name="connsiteX270" fmla="*/ 2572073 w 4032385"/>
              <a:gd name="connsiteY270" fmla="*/ 40459 h 842974"/>
              <a:gd name="connsiteX271" fmla="*/ 3239241 w 4032385"/>
              <a:gd name="connsiteY271" fmla="*/ 17383 h 842974"/>
              <a:gd name="connsiteX272" fmla="*/ 3274857 w 4032385"/>
              <a:gd name="connsiteY272" fmla="*/ 17383 h 842974"/>
              <a:gd name="connsiteX273" fmla="*/ 3316772 w 4032385"/>
              <a:gd name="connsiteY273" fmla="*/ 85177 h 842974"/>
              <a:gd name="connsiteX274" fmla="*/ 3358687 w 4032385"/>
              <a:gd name="connsiteY274" fmla="*/ 152971 h 842974"/>
              <a:gd name="connsiteX275" fmla="*/ 3358687 w 4032385"/>
              <a:gd name="connsiteY275" fmla="*/ 17383 h 842974"/>
              <a:gd name="connsiteX276" fmla="*/ 3386356 w 4032385"/>
              <a:gd name="connsiteY276" fmla="*/ 17383 h 842974"/>
              <a:gd name="connsiteX277" fmla="*/ 3386356 w 4032385"/>
              <a:gd name="connsiteY277" fmla="*/ 196804 h 842974"/>
              <a:gd name="connsiteX278" fmla="*/ 3352786 w 4032385"/>
              <a:gd name="connsiteY278" fmla="*/ 196804 h 842974"/>
              <a:gd name="connsiteX279" fmla="*/ 3309838 w 4032385"/>
              <a:gd name="connsiteY279" fmla="*/ 127344 h 842974"/>
              <a:gd name="connsiteX280" fmla="*/ 3266912 w 4032385"/>
              <a:gd name="connsiteY280" fmla="*/ 57887 h 842974"/>
              <a:gd name="connsiteX281" fmla="*/ 3266912 w 4032385"/>
              <a:gd name="connsiteY281" fmla="*/ 196804 h 842974"/>
              <a:gd name="connsiteX282" fmla="*/ 3239241 w 4032385"/>
              <a:gd name="connsiteY282" fmla="*/ 196804 h 842974"/>
              <a:gd name="connsiteX283" fmla="*/ 2849255 w 4032385"/>
              <a:gd name="connsiteY283" fmla="*/ 17383 h 842974"/>
              <a:gd name="connsiteX284" fmla="*/ 2990995 w 4032385"/>
              <a:gd name="connsiteY284" fmla="*/ 17383 h 842974"/>
              <a:gd name="connsiteX285" fmla="*/ 2990995 w 4032385"/>
              <a:gd name="connsiteY285" fmla="*/ 44041 h 842974"/>
              <a:gd name="connsiteX286" fmla="*/ 2934602 w 4032385"/>
              <a:gd name="connsiteY286" fmla="*/ 44041 h 842974"/>
              <a:gd name="connsiteX287" fmla="*/ 2934602 w 4032385"/>
              <a:gd name="connsiteY287" fmla="*/ 196804 h 842974"/>
              <a:gd name="connsiteX288" fmla="*/ 2905393 w 4032385"/>
              <a:gd name="connsiteY288" fmla="*/ 196804 h 842974"/>
              <a:gd name="connsiteX289" fmla="*/ 2905393 w 4032385"/>
              <a:gd name="connsiteY289" fmla="*/ 44041 h 842974"/>
              <a:gd name="connsiteX290" fmla="*/ 2849255 w 4032385"/>
              <a:gd name="connsiteY290" fmla="*/ 44041 h 842974"/>
              <a:gd name="connsiteX291" fmla="*/ 2311499 w 4032385"/>
              <a:gd name="connsiteY291" fmla="*/ 17383 h 842974"/>
              <a:gd name="connsiteX292" fmla="*/ 2382727 w 4032385"/>
              <a:gd name="connsiteY292" fmla="*/ 17383 h 842974"/>
              <a:gd name="connsiteX293" fmla="*/ 2422113 w 4032385"/>
              <a:gd name="connsiteY293" fmla="*/ 30974 h 842974"/>
              <a:gd name="connsiteX294" fmla="*/ 2437856 w 4032385"/>
              <a:gd name="connsiteY294" fmla="*/ 65325 h 842974"/>
              <a:gd name="connsiteX295" fmla="*/ 2432124 w 4032385"/>
              <a:gd name="connsiteY295" fmla="*/ 86356 h 842974"/>
              <a:gd name="connsiteX296" fmla="*/ 2416571 w 4032385"/>
              <a:gd name="connsiteY296" fmla="*/ 101445 h 842974"/>
              <a:gd name="connsiteX297" fmla="*/ 2437202 w 4032385"/>
              <a:gd name="connsiteY297" fmla="*/ 119295 h 842974"/>
              <a:gd name="connsiteX298" fmla="*/ 2444768 w 4032385"/>
              <a:gd name="connsiteY298" fmla="*/ 145026 h 842974"/>
              <a:gd name="connsiteX299" fmla="*/ 2428646 w 4032385"/>
              <a:gd name="connsiteY299" fmla="*/ 181777 h 842974"/>
              <a:gd name="connsiteX300" fmla="*/ 2387364 w 4032385"/>
              <a:gd name="connsiteY300" fmla="*/ 196804 h 842974"/>
              <a:gd name="connsiteX301" fmla="*/ 2311499 w 4032385"/>
              <a:gd name="connsiteY301" fmla="*/ 196804 h 842974"/>
              <a:gd name="connsiteX302" fmla="*/ 3103717 w 4032385"/>
              <a:gd name="connsiteY302" fmla="*/ 13721 h 842974"/>
              <a:gd name="connsiteX303" fmla="*/ 3170646 w 4032385"/>
              <a:gd name="connsiteY303" fmla="*/ 40986 h 842974"/>
              <a:gd name="connsiteX304" fmla="*/ 3198233 w 4032385"/>
              <a:gd name="connsiteY304" fmla="*/ 107094 h 842974"/>
              <a:gd name="connsiteX305" fmla="*/ 3170646 w 4032385"/>
              <a:gd name="connsiteY305" fmla="*/ 173179 h 842974"/>
              <a:gd name="connsiteX306" fmla="*/ 3103653 w 4032385"/>
              <a:gd name="connsiteY306" fmla="*/ 200638 h 842974"/>
              <a:gd name="connsiteX307" fmla="*/ 3036789 w 4032385"/>
              <a:gd name="connsiteY307" fmla="*/ 173179 h 842974"/>
              <a:gd name="connsiteX308" fmla="*/ 3009330 w 4032385"/>
              <a:gd name="connsiteY308" fmla="*/ 107094 h 842974"/>
              <a:gd name="connsiteX309" fmla="*/ 3036789 w 4032385"/>
              <a:gd name="connsiteY309" fmla="*/ 40986 h 842974"/>
              <a:gd name="connsiteX310" fmla="*/ 3103717 w 4032385"/>
              <a:gd name="connsiteY310" fmla="*/ 13721 h 842974"/>
              <a:gd name="connsiteX311" fmla="*/ 2572074 w 4032385"/>
              <a:gd name="connsiteY311" fmla="*/ 13721 h 842974"/>
              <a:gd name="connsiteX312" fmla="*/ 2639004 w 4032385"/>
              <a:gd name="connsiteY312" fmla="*/ 40986 h 842974"/>
              <a:gd name="connsiteX313" fmla="*/ 2666588 w 4032385"/>
              <a:gd name="connsiteY313" fmla="*/ 107094 h 842974"/>
              <a:gd name="connsiteX314" fmla="*/ 2639004 w 4032385"/>
              <a:gd name="connsiteY314" fmla="*/ 173179 h 842974"/>
              <a:gd name="connsiteX315" fmla="*/ 2572011 w 4032385"/>
              <a:gd name="connsiteY315" fmla="*/ 200638 h 842974"/>
              <a:gd name="connsiteX316" fmla="*/ 2505144 w 4032385"/>
              <a:gd name="connsiteY316" fmla="*/ 173179 h 842974"/>
              <a:gd name="connsiteX317" fmla="*/ 2477685 w 4032385"/>
              <a:gd name="connsiteY317" fmla="*/ 107094 h 842974"/>
              <a:gd name="connsiteX318" fmla="*/ 2505144 w 4032385"/>
              <a:gd name="connsiteY318" fmla="*/ 40986 h 842974"/>
              <a:gd name="connsiteX319" fmla="*/ 2572074 w 4032385"/>
              <a:gd name="connsiteY319" fmla="*/ 13721 h 842974"/>
              <a:gd name="connsiteX320" fmla="*/ 2759628 w 4032385"/>
              <a:gd name="connsiteY320" fmla="*/ 13547 h 842974"/>
              <a:gd name="connsiteX321" fmla="*/ 2789468 w 4032385"/>
              <a:gd name="connsiteY321" fmla="*/ 18162 h 842974"/>
              <a:gd name="connsiteX322" fmla="*/ 2813955 w 4032385"/>
              <a:gd name="connsiteY322" fmla="*/ 30470 h 842974"/>
              <a:gd name="connsiteX323" fmla="*/ 2806769 w 4032385"/>
              <a:gd name="connsiteY323" fmla="*/ 41871 h 842974"/>
              <a:gd name="connsiteX324" fmla="*/ 2799605 w 4032385"/>
              <a:gd name="connsiteY324" fmla="*/ 53271 h 842974"/>
              <a:gd name="connsiteX325" fmla="*/ 2779585 w 4032385"/>
              <a:gd name="connsiteY325" fmla="*/ 43198 h 842974"/>
              <a:gd name="connsiteX326" fmla="*/ 2759354 w 4032385"/>
              <a:gd name="connsiteY326" fmla="*/ 39678 h 842974"/>
              <a:gd name="connsiteX327" fmla="*/ 2735984 w 4032385"/>
              <a:gd name="connsiteY327" fmla="*/ 47119 h 842974"/>
              <a:gd name="connsiteX328" fmla="*/ 2728355 w 4032385"/>
              <a:gd name="connsiteY328" fmla="*/ 65325 h 842974"/>
              <a:gd name="connsiteX329" fmla="*/ 2738955 w 4032385"/>
              <a:gd name="connsiteY329" fmla="*/ 83281 h 842974"/>
              <a:gd name="connsiteX330" fmla="*/ 2767067 w 4032385"/>
              <a:gd name="connsiteY330" fmla="*/ 93775 h 842974"/>
              <a:gd name="connsiteX331" fmla="*/ 2804831 w 4032385"/>
              <a:gd name="connsiteY331" fmla="*/ 110297 h 842974"/>
              <a:gd name="connsiteX332" fmla="*/ 2821648 w 4032385"/>
              <a:gd name="connsiteY332" fmla="*/ 146057 h 842974"/>
              <a:gd name="connsiteX333" fmla="*/ 2805083 w 4032385"/>
              <a:gd name="connsiteY333" fmla="*/ 185171 h 842974"/>
              <a:gd name="connsiteX334" fmla="*/ 2758343 w 4032385"/>
              <a:gd name="connsiteY334" fmla="*/ 200638 h 842974"/>
              <a:gd name="connsiteX335" fmla="*/ 2721654 w 4032385"/>
              <a:gd name="connsiteY335" fmla="*/ 194505 h 842974"/>
              <a:gd name="connsiteX336" fmla="*/ 2694764 w 4032385"/>
              <a:gd name="connsiteY336" fmla="*/ 180133 h 842974"/>
              <a:gd name="connsiteX337" fmla="*/ 2701950 w 4032385"/>
              <a:gd name="connsiteY337" fmla="*/ 168732 h 842974"/>
              <a:gd name="connsiteX338" fmla="*/ 2709114 w 4032385"/>
              <a:gd name="connsiteY338" fmla="*/ 157332 h 842974"/>
              <a:gd name="connsiteX339" fmla="*/ 2732906 w 4032385"/>
              <a:gd name="connsiteY339" fmla="*/ 169659 h 842974"/>
              <a:gd name="connsiteX340" fmla="*/ 2758595 w 4032385"/>
              <a:gd name="connsiteY340" fmla="*/ 174487 h 842974"/>
              <a:gd name="connsiteX341" fmla="*/ 2783990 w 4032385"/>
              <a:gd name="connsiteY341" fmla="*/ 166836 h 842974"/>
              <a:gd name="connsiteX342" fmla="*/ 2792671 w 4032385"/>
              <a:gd name="connsiteY342" fmla="*/ 147849 h 842974"/>
              <a:gd name="connsiteX343" fmla="*/ 2781987 w 4032385"/>
              <a:gd name="connsiteY343" fmla="*/ 129957 h 842974"/>
              <a:gd name="connsiteX344" fmla="*/ 2753980 w 4032385"/>
              <a:gd name="connsiteY344" fmla="*/ 119379 h 842974"/>
              <a:gd name="connsiteX345" fmla="*/ 2716112 w 4032385"/>
              <a:gd name="connsiteY345" fmla="*/ 102963 h 842974"/>
              <a:gd name="connsiteX346" fmla="*/ 2699399 w 4032385"/>
              <a:gd name="connsiteY346" fmla="*/ 67095 h 842974"/>
              <a:gd name="connsiteX347" fmla="*/ 2715289 w 4032385"/>
              <a:gd name="connsiteY347" fmla="*/ 28594 h 842974"/>
              <a:gd name="connsiteX348" fmla="*/ 2759628 w 4032385"/>
              <a:gd name="connsiteY348" fmla="*/ 13547 h 842974"/>
              <a:gd name="connsiteX349" fmla="*/ 969973 w 4032385"/>
              <a:gd name="connsiteY349" fmla="*/ 17 h 842974"/>
              <a:gd name="connsiteX350" fmla="*/ 1103348 w 4032385"/>
              <a:gd name="connsiteY350" fmla="*/ 18058 h 842974"/>
              <a:gd name="connsiteX351" fmla="*/ 1215924 w 4032385"/>
              <a:gd name="connsiteY351" fmla="*/ 71606 h 842974"/>
              <a:gd name="connsiteX352" fmla="*/ 1171459 w 4032385"/>
              <a:gd name="connsiteY352" fmla="*/ 141464 h 842974"/>
              <a:gd name="connsiteX353" fmla="*/ 1127015 w 4032385"/>
              <a:gd name="connsiteY353" fmla="*/ 211322 h 842974"/>
              <a:gd name="connsiteX354" fmla="*/ 1055427 w 4032385"/>
              <a:gd name="connsiteY354" fmla="*/ 174232 h 842974"/>
              <a:gd name="connsiteX355" fmla="*/ 969973 w 4032385"/>
              <a:gd name="connsiteY355" fmla="*/ 160515 h 842974"/>
              <a:gd name="connsiteX356" fmla="*/ 782756 w 4032385"/>
              <a:gd name="connsiteY356" fmla="*/ 238909 h 842974"/>
              <a:gd name="connsiteX357" fmla="*/ 705543 w 4032385"/>
              <a:gd name="connsiteY357" fmla="*/ 421279 h 842974"/>
              <a:gd name="connsiteX358" fmla="*/ 782756 w 4032385"/>
              <a:gd name="connsiteY358" fmla="*/ 603649 h 842974"/>
              <a:gd name="connsiteX359" fmla="*/ 969973 w 4032385"/>
              <a:gd name="connsiteY359" fmla="*/ 681306 h 842974"/>
              <a:gd name="connsiteX360" fmla="*/ 1069569 w 4032385"/>
              <a:gd name="connsiteY360" fmla="*/ 661666 h 842974"/>
              <a:gd name="connsiteX361" fmla="*/ 1153567 w 4032385"/>
              <a:gd name="connsiteY361" fmla="*/ 603945 h 842974"/>
              <a:gd name="connsiteX362" fmla="*/ 1242773 w 4032385"/>
              <a:gd name="connsiteY362" fmla="*/ 384254 h 842974"/>
              <a:gd name="connsiteX363" fmla="*/ 1375283 w 4032385"/>
              <a:gd name="connsiteY363" fmla="*/ 121255 h 842974"/>
              <a:gd name="connsiteX364" fmla="*/ 1508067 w 4032385"/>
              <a:gd name="connsiteY364" fmla="*/ 32492 h 842974"/>
              <a:gd name="connsiteX365" fmla="*/ 1678975 w 4032385"/>
              <a:gd name="connsiteY365" fmla="*/ 17 h 842974"/>
              <a:gd name="connsiteX366" fmla="*/ 1812328 w 4032385"/>
              <a:gd name="connsiteY366" fmla="*/ 19217 h 842974"/>
              <a:gd name="connsiteX367" fmla="*/ 1924924 w 4032385"/>
              <a:gd name="connsiteY367" fmla="*/ 73922 h 842974"/>
              <a:gd name="connsiteX368" fmla="*/ 1881049 w 4032385"/>
              <a:gd name="connsiteY368" fmla="*/ 143782 h 842974"/>
              <a:gd name="connsiteX369" fmla="*/ 1837151 w 4032385"/>
              <a:gd name="connsiteY369" fmla="*/ 213640 h 842974"/>
              <a:gd name="connsiteX370" fmla="*/ 1764406 w 4032385"/>
              <a:gd name="connsiteY370" fmla="*/ 175540 h 842974"/>
              <a:gd name="connsiteX371" fmla="*/ 1677815 w 4032385"/>
              <a:gd name="connsiteY371" fmla="*/ 161674 h 842974"/>
              <a:gd name="connsiteX372" fmla="*/ 1495359 w 4032385"/>
              <a:gd name="connsiteY372" fmla="*/ 238170 h 842974"/>
              <a:gd name="connsiteX373" fmla="*/ 1420317 w 4032385"/>
              <a:gd name="connsiteY373" fmla="*/ 420330 h 842974"/>
              <a:gd name="connsiteX374" fmla="*/ 1494642 w 4032385"/>
              <a:gd name="connsiteY374" fmla="*/ 605083 h 842974"/>
              <a:gd name="connsiteX375" fmla="*/ 1675497 w 4032385"/>
              <a:gd name="connsiteY375" fmla="*/ 682465 h 842974"/>
              <a:gd name="connsiteX376" fmla="*/ 1820419 w 4032385"/>
              <a:gd name="connsiteY376" fmla="*/ 632794 h 842974"/>
              <a:gd name="connsiteX377" fmla="*/ 1902985 w 4032385"/>
              <a:gd name="connsiteY377" fmla="*/ 506943 h 842974"/>
              <a:gd name="connsiteX378" fmla="*/ 1651261 w 4032385"/>
              <a:gd name="connsiteY378" fmla="*/ 506943 h 842974"/>
              <a:gd name="connsiteX379" fmla="*/ 1700911 w 4032385"/>
              <a:gd name="connsiteY379" fmla="*/ 428991 h 842974"/>
              <a:gd name="connsiteX380" fmla="*/ 1750561 w 4032385"/>
              <a:gd name="connsiteY380" fmla="*/ 351062 h 842974"/>
              <a:gd name="connsiteX381" fmla="*/ 2077348 w 4032385"/>
              <a:gd name="connsiteY381" fmla="*/ 351062 h 842974"/>
              <a:gd name="connsiteX382" fmla="*/ 2081521 w 4032385"/>
              <a:gd name="connsiteY382" fmla="*/ 385833 h 842974"/>
              <a:gd name="connsiteX383" fmla="*/ 2083123 w 4032385"/>
              <a:gd name="connsiteY383" fmla="*/ 421489 h 842974"/>
              <a:gd name="connsiteX384" fmla="*/ 1964035 w 4032385"/>
              <a:gd name="connsiteY384" fmla="*/ 719261 h 842974"/>
              <a:gd name="connsiteX385" fmla="*/ 1670881 w 4032385"/>
              <a:gd name="connsiteY385" fmla="*/ 842961 h 842974"/>
              <a:gd name="connsiteX386" fmla="*/ 1465203 w 4032385"/>
              <a:gd name="connsiteY386" fmla="*/ 793459 h 842974"/>
              <a:gd name="connsiteX387" fmla="*/ 1317540 w 4032385"/>
              <a:gd name="connsiteY387" fmla="*/ 661666 h 842974"/>
              <a:gd name="connsiteX388" fmla="*/ 1168571 w 4032385"/>
              <a:gd name="connsiteY388" fmla="*/ 793882 h 842974"/>
              <a:gd name="connsiteX389" fmla="*/ 964201 w 4032385"/>
              <a:gd name="connsiteY389" fmla="*/ 842961 h 842974"/>
              <a:gd name="connsiteX390" fmla="*/ 786360 w 4032385"/>
              <a:gd name="connsiteY390" fmla="*/ 805135 h 842974"/>
              <a:gd name="connsiteX391" fmla="*/ 646641 w 4032385"/>
              <a:gd name="connsiteY391" fmla="*/ 703245 h 842974"/>
              <a:gd name="connsiteX392" fmla="*/ 555141 w 4032385"/>
              <a:gd name="connsiteY392" fmla="*/ 791709 h 842974"/>
              <a:gd name="connsiteX393" fmla="*/ 416856 w 4032385"/>
              <a:gd name="connsiteY393" fmla="*/ 825640 h 842974"/>
              <a:gd name="connsiteX394" fmla="*/ 0 w 4032385"/>
              <a:gd name="connsiteY394" fmla="*/ 825640 h 842974"/>
              <a:gd name="connsiteX395" fmla="*/ 0 w 4032385"/>
              <a:gd name="connsiteY395" fmla="*/ 17341 h 842974"/>
              <a:gd name="connsiteX396" fmla="*/ 377596 w 4032385"/>
              <a:gd name="connsiteY396" fmla="*/ 17341 h 842974"/>
              <a:gd name="connsiteX397" fmla="*/ 534216 w 4032385"/>
              <a:gd name="connsiteY397" fmla="*/ 61807 h 842974"/>
              <a:gd name="connsiteX398" fmla="*/ 622408 w 4032385"/>
              <a:gd name="connsiteY398" fmla="*/ 175540 h 842974"/>
              <a:gd name="connsiteX399" fmla="*/ 770196 w 4032385"/>
              <a:gd name="connsiteY399" fmla="*/ 48382 h 842974"/>
              <a:gd name="connsiteX400" fmla="*/ 969973 w 4032385"/>
              <a:gd name="connsiteY400" fmla="*/ 17 h 84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4032385" h="842974">
                <a:moveTo>
                  <a:pt x="3149701" y="673171"/>
                </a:moveTo>
                <a:lnTo>
                  <a:pt x="3149701" y="738035"/>
                </a:lnTo>
                <a:lnTo>
                  <a:pt x="3190456" y="738035"/>
                </a:lnTo>
                <a:cubicBezTo>
                  <a:pt x="3199096" y="738290"/>
                  <a:pt x="3207483" y="735170"/>
                  <a:pt x="3213869" y="729354"/>
                </a:cubicBezTo>
                <a:cubicBezTo>
                  <a:pt x="3226322" y="716119"/>
                  <a:pt x="3226322" y="695236"/>
                  <a:pt x="3213869" y="682023"/>
                </a:cubicBezTo>
                <a:cubicBezTo>
                  <a:pt x="3207525" y="676142"/>
                  <a:pt x="3199118" y="672961"/>
                  <a:pt x="3190456" y="673171"/>
                </a:cubicBezTo>
                <a:close/>
                <a:moveTo>
                  <a:pt x="2552665" y="673171"/>
                </a:moveTo>
                <a:lnTo>
                  <a:pt x="2552665" y="735465"/>
                </a:lnTo>
                <a:lnTo>
                  <a:pt x="2596244" y="735465"/>
                </a:lnTo>
                <a:cubicBezTo>
                  <a:pt x="2604569" y="735719"/>
                  <a:pt x="2612662" y="732745"/>
                  <a:pt x="2618835" y="727161"/>
                </a:cubicBezTo>
                <a:cubicBezTo>
                  <a:pt x="2624842" y="721177"/>
                  <a:pt x="2628087" y="712937"/>
                  <a:pt x="2627771" y="704444"/>
                </a:cubicBezTo>
                <a:cubicBezTo>
                  <a:pt x="2628045" y="695952"/>
                  <a:pt x="2624800" y="687733"/>
                  <a:pt x="2618835" y="681706"/>
                </a:cubicBezTo>
                <a:cubicBezTo>
                  <a:pt x="2612724" y="676016"/>
                  <a:pt x="2604589" y="672941"/>
                  <a:pt x="2596244" y="673171"/>
                </a:cubicBezTo>
                <a:close/>
                <a:moveTo>
                  <a:pt x="2785970" y="669841"/>
                </a:moveTo>
                <a:cubicBezTo>
                  <a:pt x="2768646" y="669841"/>
                  <a:pt x="2752042" y="676839"/>
                  <a:pt x="2739924" y="689229"/>
                </a:cubicBezTo>
                <a:cubicBezTo>
                  <a:pt x="2714910" y="715550"/>
                  <a:pt x="2714910" y="757423"/>
                  <a:pt x="2739924" y="783745"/>
                </a:cubicBezTo>
                <a:cubicBezTo>
                  <a:pt x="2751978" y="796179"/>
                  <a:pt x="2768584" y="803174"/>
                  <a:pt x="2785906" y="803132"/>
                </a:cubicBezTo>
                <a:cubicBezTo>
                  <a:pt x="2803271" y="803216"/>
                  <a:pt x="2819962" y="796240"/>
                  <a:pt x="2832099" y="783829"/>
                </a:cubicBezTo>
                <a:cubicBezTo>
                  <a:pt x="2857200" y="757487"/>
                  <a:pt x="2857158" y="715530"/>
                  <a:pt x="2832015" y="689229"/>
                </a:cubicBezTo>
                <a:cubicBezTo>
                  <a:pt x="2819898" y="676839"/>
                  <a:pt x="2803293" y="669841"/>
                  <a:pt x="2785970" y="669841"/>
                </a:cubicBezTo>
                <a:close/>
                <a:moveTo>
                  <a:pt x="3120744" y="646767"/>
                </a:moveTo>
                <a:lnTo>
                  <a:pt x="3190456" y="646767"/>
                </a:lnTo>
                <a:cubicBezTo>
                  <a:pt x="3207251" y="646239"/>
                  <a:pt x="3223583" y="652310"/>
                  <a:pt x="3235953" y="663688"/>
                </a:cubicBezTo>
                <a:cubicBezTo>
                  <a:pt x="3258525" y="686554"/>
                  <a:pt x="3258525" y="723874"/>
                  <a:pt x="3235953" y="746739"/>
                </a:cubicBezTo>
                <a:cubicBezTo>
                  <a:pt x="3223583" y="758120"/>
                  <a:pt x="3207251" y="764189"/>
                  <a:pt x="3190456" y="763662"/>
                </a:cubicBezTo>
                <a:lnTo>
                  <a:pt x="3149701" y="763662"/>
                </a:lnTo>
                <a:lnTo>
                  <a:pt x="3149701" y="826186"/>
                </a:lnTo>
                <a:lnTo>
                  <a:pt x="3120744" y="826186"/>
                </a:lnTo>
                <a:close/>
                <a:moveTo>
                  <a:pt x="2919303" y="646767"/>
                </a:moveTo>
                <a:lnTo>
                  <a:pt x="2948257" y="646767"/>
                </a:lnTo>
                <a:lnTo>
                  <a:pt x="2948257" y="756728"/>
                </a:lnTo>
                <a:cubicBezTo>
                  <a:pt x="2947983" y="768950"/>
                  <a:pt x="2952452" y="780837"/>
                  <a:pt x="2960691" y="789855"/>
                </a:cubicBezTo>
                <a:cubicBezTo>
                  <a:pt x="2978898" y="807770"/>
                  <a:pt x="3008529" y="807770"/>
                  <a:pt x="3026757" y="789855"/>
                </a:cubicBezTo>
                <a:cubicBezTo>
                  <a:pt x="3034997" y="780837"/>
                  <a:pt x="3039486" y="768972"/>
                  <a:pt x="3039233" y="756728"/>
                </a:cubicBezTo>
                <a:lnTo>
                  <a:pt x="3039233" y="646767"/>
                </a:lnTo>
                <a:lnTo>
                  <a:pt x="3067681" y="646767"/>
                </a:lnTo>
                <a:lnTo>
                  <a:pt x="3067681" y="757003"/>
                </a:lnTo>
                <a:cubicBezTo>
                  <a:pt x="3068020" y="776536"/>
                  <a:pt x="3060411" y="795420"/>
                  <a:pt x="3046607" y="809285"/>
                </a:cubicBezTo>
                <a:cubicBezTo>
                  <a:pt x="3016810" y="836808"/>
                  <a:pt x="2970300" y="836808"/>
                  <a:pt x="2940503" y="809285"/>
                </a:cubicBezTo>
                <a:cubicBezTo>
                  <a:pt x="2926637" y="795462"/>
                  <a:pt x="2918987" y="776578"/>
                  <a:pt x="2919303" y="757003"/>
                </a:cubicBezTo>
                <a:close/>
                <a:moveTo>
                  <a:pt x="2523708" y="646767"/>
                </a:moveTo>
                <a:lnTo>
                  <a:pt x="2596244" y="646767"/>
                </a:lnTo>
                <a:cubicBezTo>
                  <a:pt x="2612724" y="646219"/>
                  <a:pt x="2628804" y="652203"/>
                  <a:pt x="2640900" y="663414"/>
                </a:cubicBezTo>
                <a:cubicBezTo>
                  <a:pt x="2660455" y="683877"/>
                  <a:pt x="2662984" y="715508"/>
                  <a:pt x="2646926" y="738816"/>
                </a:cubicBezTo>
                <a:cubicBezTo>
                  <a:pt x="2639614" y="748383"/>
                  <a:pt x="2629224" y="755169"/>
                  <a:pt x="2617529" y="758014"/>
                </a:cubicBezTo>
                <a:lnTo>
                  <a:pt x="2638919" y="792090"/>
                </a:lnTo>
                <a:lnTo>
                  <a:pt x="2660329" y="826186"/>
                </a:lnTo>
                <a:lnTo>
                  <a:pt x="2626738" y="826186"/>
                </a:lnTo>
                <a:lnTo>
                  <a:pt x="2606888" y="793776"/>
                </a:lnTo>
                <a:lnTo>
                  <a:pt x="2587015" y="761344"/>
                </a:lnTo>
                <a:lnTo>
                  <a:pt x="2552665" y="761344"/>
                </a:lnTo>
                <a:lnTo>
                  <a:pt x="2552665" y="826186"/>
                </a:lnTo>
                <a:lnTo>
                  <a:pt x="2523708" y="826186"/>
                </a:lnTo>
                <a:close/>
                <a:moveTo>
                  <a:pt x="2785971" y="643110"/>
                </a:moveTo>
                <a:cubicBezTo>
                  <a:pt x="2810216" y="643110"/>
                  <a:pt x="2834460" y="652203"/>
                  <a:pt x="2852899" y="670390"/>
                </a:cubicBezTo>
                <a:cubicBezTo>
                  <a:pt x="2870539" y="687859"/>
                  <a:pt x="2880486" y="711672"/>
                  <a:pt x="2880486" y="736498"/>
                </a:cubicBezTo>
                <a:cubicBezTo>
                  <a:pt x="2880486" y="761302"/>
                  <a:pt x="2870539" y="785114"/>
                  <a:pt x="2852899" y="802584"/>
                </a:cubicBezTo>
                <a:cubicBezTo>
                  <a:pt x="2835093" y="820243"/>
                  <a:pt x="2810984" y="830106"/>
                  <a:pt x="2785906" y="830042"/>
                </a:cubicBezTo>
                <a:cubicBezTo>
                  <a:pt x="2760872" y="830129"/>
                  <a:pt x="2736785" y="820243"/>
                  <a:pt x="2719041" y="802584"/>
                </a:cubicBezTo>
                <a:cubicBezTo>
                  <a:pt x="2701485" y="785072"/>
                  <a:pt x="2691582" y="761279"/>
                  <a:pt x="2691582" y="736498"/>
                </a:cubicBezTo>
                <a:cubicBezTo>
                  <a:pt x="2691582" y="711694"/>
                  <a:pt x="2701485" y="687901"/>
                  <a:pt x="2719041" y="670390"/>
                </a:cubicBezTo>
                <a:cubicBezTo>
                  <a:pt x="2737481" y="652203"/>
                  <a:pt x="2761726" y="643110"/>
                  <a:pt x="2785971" y="643110"/>
                </a:cubicBezTo>
                <a:close/>
                <a:moveTo>
                  <a:pt x="2396594" y="642931"/>
                </a:moveTo>
                <a:cubicBezTo>
                  <a:pt x="2406856" y="642867"/>
                  <a:pt x="2417099" y="644236"/>
                  <a:pt x="2426982" y="647040"/>
                </a:cubicBezTo>
                <a:cubicBezTo>
                  <a:pt x="2436297" y="649695"/>
                  <a:pt x="2445085" y="653951"/>
                  <a:pt x="2452965" y="659600"/>
                </a:cubicBezTo>
                <a:lnTo>
                  <a:pt x="2445401" y="671381"/>
                </a:lnTo>
                <a:lnTo>
                  <a:pt x="2437856" y="683160"/>
                </a:lnTo>
                <a:cubicBezTo>
                  <a:pt x="2432060" y="678693"/>
                  <a:pt x="2425507" y="675257"/>
                  <a:pt x="2418531" y="673045"/>
                </a:cubicBezTo>
                <a:cubicBezTo>
                  <a:pt x="2411345" y="670854"/>
                  <a:pt x="2403842" y="669779"/>
                  <a:pt x="2396320" y="669863"/>
                </a:cubicBezTo>
                <a:cubicBezTo>
                  <a:pt x="2379103" y="669737"/>
                  <a:pt x="2362580" y="676669"/>
                  <a:pt x="2350611" y="689041"/>
                </a:cubicBezTo>
                <a:cubicBezTo>
                  <a:pt x="2338451" y="701811"/>
                  <a:pt x="2331772" y="718860"/>
                  <a:pt x="2332002" y="736498"/>
                </a:cubicBezTo>
                <a:cubicBezTo>
                  <a:pt x="2331730" y="754073"/>
                  <a:pt x="2338199" y="771100"/>
                  <a:pt x="2350106" y="784061"/>
                </a:cubicBezTo>
                <a:cubicBezTo>
                  <a:pt x="2361801" y="796515"/>
                  <a:pt x="2378218" y="803533"/>
                  <a:pt x="2395309" y="803384"/>
                </a:cubicBezTo>
                <a:cubicBezTo>
                  <a:pt x="2409997" y="803827"/>
                  <a:pt x="2424327" y="798749"/>
                  <a:pt x="2435454" y="789161"/>
                </a:cubicBezTo>
                <a:cubicBezTo>
                  <a:pt x="2445611" y="779740"/>
                  <a:pt x="2452248" y="767118"/>
                  <a:pt x="2454251" y="753399"/>
                </a:cubicBezTo>
                <a:lnTo>
                  <a:pt x="2393265" y="753399"/>
                </a:lnTo>
                <a:lnTo>
                  <a:pt x="2401588" y="740332"/>
                </a:lnTo>
                <a:lnTo>
                  <a:pt x="2409911" y="727267"/>
                </a:lnTo>
                <a:lnTo>
                  <a:pt x="2481690" y="727267"/>
                </a:lnTo>
                <a:cubicBezTo>
                  <a:pt x="2482132" y="729144"/>
                  <a:pt x="2482448" y="731062"/>
                  <a:pt x="2482617" y="733000"/>
                </a:cubicBezTo>
                <a:cubicBezTo>
                  <a:pt x="2482827" y="735274"/>
                  <a:pt x="2482953" y="737761"/>
                  <a:pt x="2482953" y="740080"/>
                </a:cubicBezTo>
                <a:cubicBezTo>
                  <a:pt x="2483437" y="763808"/>
                  <a:pt x="2474672" y="786800"/>
                  <a:pt x="2458507" y="804185"/>
                </a:cubicBezTo>
                <a:cubicBezTo>
                  <a:pt x="2441839" y="821192"/>
                  <a:pt x="2418847" y="830549"/>
                  <a:pt x="2395054" y="830042"/>
                </a:cubicBezTo>
                <a:cubicBezTo>
                  <a:pt x="2370357" y="830191"/>
                  <a:pt x="2346606" y="820350"/>
                  <a:pt x="2329263" y="802774"/>
                </a:cubicBezTo>
                <a:cubicBezTo>
                  <a:pt x="2293565" y="766021"/>
                  <a:pt x="2293859" y="706594"/>
                  <a:pt x="2329938" y="670199"/>
                </a:cubicBezTo>
                <a:cubicBezTo>
                  <a:pt x="2347662" y="652646"/>
                  <a:pt x="2371642" y="642825"/>
                  <a:pt x="2396594" y="642931"/>
                </a:cubicBezTo>
                <a:close/>
                <a:moveTo>
                  <a:pt x="175520" y="491918"/>
                </a:moveTo>
                <a:lnTo>
                  <a:pt x="175520" y="675531"/>
                </a:lnTo>
                <a:lnTo>
                  <a:pt x="414560" y="675531"/>
                </a:lnTo>
                <a:cubicBezTo>
                  <a:pt x="439762" y="675722"/>
                  <a:pt x="464081" y="666155"/>
                  <a:pt x="482396" y="648832"/>
                </a:cubicBezTo>
                <a:cubicBezTo>
                  <a:pt x="500350" y="631721"/>
                  <a:pt x="510485" y="607948"/>
                  <a:pt x="510401" y="583146"/>
                </a:cubicBezTo>
                <a:cubicBezTo>
                  <a:pt x="510527" y="558511"/>
                  <a:pt x="500370" y="534886"/>
                  <a:pt x="482396" y="518049"/>
                </a:cubicBezTo>
                <a:cubicBezTo>
                  <a:pt x="463955" y="501022"/>
                  <a:pt x="439658" y="491666"/>
                  <a:pt x="414560" y="491918"/>
                </a:cubicBezTo>
                <a:close/>
                <a:moveTo>
                  <a:pt x="2577194" y="355151"/>
                </a:moveTo>
                <a:cubicBezTo>
                  <a:pt x="2559871" y="355151"/>
                  <a:pt x="2543244" y="362147"/>
                  <a:pt x="2531149" y="374539"/>
                </a:cubicBezTo>
                <a:cubicBezTo>
                  <a:pt x="2506135" y="400858"/>
                  <a:pt x="2506135" y="442711"/>
                  <a:pt x="2531149" y="469052"/>
                </a:cubicBezTo>
                <a:cubicBezTo>
                  <a:pt x="2543202" y="481464"/>
                  <a:pt x="2559809" y="488482"/>
                  <a:pt x="2577130" y="488420"/>
                </a:cubicBezTo>
                <a:cubicBezTo>
                  <a:pt x="2594496" y="488504"/>
                  <a:pt x="2611164" y="481548"/>
                  <a:pt x="2623324" y="469137"/>
                </a:cubicBezTo>
                <a:cubicBezTo>
                  <a:pt x="2648402" y="442795"/>
                  <a:pt x="2648360" y="400816"/>
                  <a:pt x="2623218" y="374539"/>
                </a:cubicBezTo>
                <a:cubicBezTo>
                  <a:pt x="2611122" y="362147"/>
                  <a:pt x="2594496" y="355151"/>
                  <a:pt x="2577194" y="355151"/>
                </a:cubicBezTo>
                <a:close/>
                <a:moveTo>
                  <a:pt x="3664168" y="332095"/>
                </a:moveTo>
                <a:lnTo>
                  <a:pt x="3699804" y="332095"/>
                </a:lnTo>
                <a:lnTo>
                  <a:pt x="3741699" y="399889"/>
                </a:lnTo>
                <a:lnTo>
                  <a:pt x="3783614" y="467683"/>
                </a:lnTo>
                <a:lnTo>
                  <a:pt x="3783614" y="332095"/>
                </a:lnTo>
                <a:lnTo>
                  <a:pt x="3811283" y="332095"/>
                </a:lnTo>
                <a:lnTo>
                  <a:pt x="3811283" y="511496"/>
                </a:lnTo>
                <a:lnTo>
                  <a:pt x="3777713" y="511496"/>
                </a:lnTo>
                <a:lnTo>
                  <a:pt x="3734788" y="442036"/>
                </a:lnTo>
                <a:lnTo>
                  <a:pt x="3691839" y="372599"/>
                </a:lnTo>
                <a:lnTo>
                  <a:pt x="3691839" y="511496"/>
                </a:lnTo>
                <a:lnTo>
                  <a:pt x="3664168" y="511496"/>
                </a:lnTo>
                <a:close/>
                <a:moveTo>
                  <a:pt x="3571276" y="332095"/>
                </a:moveTo>
                <a:lnTo>
                  <a:pt x="3600233" y="332095"/>
                </a:lnTo>
                <a:lnTo>
                  <a:pt x="3600233" y="511496"/>
                </a:lnTo>
                <a:lnTo>
                  <a:pt x="3571276" y="511496"/>
                </a:lnTo>
                <a:close/>
                <a:moveTo>
                  <a:pt x="3385977" y="332095"/>
                </a:moveTo>
                <a:lnTo>
                  <a:pt x="3527698" y="332095"/>
                </a:lnTo>
                <a:lnTo>
                  <a:pt x="3527698" y="358733"/>
                </a:lnTo>
                <a:lnTo>
                  <a:pt x="3471325" y="358733"/>
                </a:lnTo>
                <a:lnTo>
                  <a:pt x="3471325" y="511496"/>
                </a:lnTo>
                <a:lnTo>
                  <a:pt x="3442096" y="511496"/>
                </a:lnTo>
                <a:lnTo>
                  <a:pt x="3442096" y="358733"/>
                </a:lnTo>
                <a:lnTo>
                  <a:pt x="3385977" y="358733"/>
                </a:lnTo>
                <a:close/>
                <a:moveTo>
                  <a:pt x="3273572" y="332095"/>
                </a:moveTo>
                <a:lnTo>
                  <a:pt x="3302526" y="332095"/>
                </a:lnTo>
                <a:lnTo>
                  <a:pt x="3302526" y="484836"/>
                </a:lnTo>
                <a:lnTo>
                  <a:pt x="3390951" y="484836"/>
                </a:lnTo>
                <a:lnTo>
                  <a:pt x="3390951" y="511496"/>
                </a:lnTo>
                <a:lnTo>
                  <a:pt x="3273572" y="511496"/>
                </a:lnTo>
                <a:close/>
                <a:moveTo>
                  <a:pt x="3073730" y="332095"/>
                </a:moveTo>
                <a:lnTo>
                  <a:pt x="3102684" y="332095"/>
                </a:lnTo>
                <a:lnTo>
                  <a:pt x="3102684" y="442036"/>
                </a:lnTo>
                <a:cubicBezTo>
                  <a:pt x="3102432" y="454260"/>
                  <a:pt x="3106879" y="466123"/>
                  <a:pt x="3115118" y="475163"/>
                </a:cubicBezTo>
                <a:cubicBezTo>
                  <a:pt x="3133327" y="493077"/>
                  <a:pt x="3162976" y="493077"/>
                  <a:pt x="3181184" y="475163"/>
                </a:cubicBezTo>
                <a:cubicBezTo>
                  <a:pt x="3189445" y="466145"/>
                  <a:pt x="3193934" y="454260"/>
                  <a:pt x="3193680" y="442036"/>
                </a:cubicBezTo>
                <a:lnTo>
                  <a:pt x="3193680" y="332095"/>
                </a:lnTo>
                <a:lnTo>
                  <a:pt x="3222130" y="332095"/>
                </a:lnTo>
                <a:lnTo>
                  <a:pt x="3222130" y="442288"/>
                </a:lnTo>
                <a:cubicBezTo>
                  <a:pt x="3222466" y="461847"/>
                  <a:pt x="3214860" y="480728"/>
                  <a:pt x="3201056" y="494573"/>
                </a:cubicBezTo>
                <a:cubicBezTo>
                  <a:pt x="3171259" y="522116"/>
                  <a:pt x="3124727" y="522116"/>
                  <a:pt x="3094930" y="494573"/>
                </a:cubicBezTo>
                <a:cubicBezTo>
                  <a:pt x="3081064" y="480750"/>
                  <a:pt x="3073413" y="461866"/>
                  <a:pt x="3073730" y="442288"/>
                </a:cubicBezTo>
                <a:close/>
                <a:moveTo>
                  <a:pt x="2712886" y="332095"/>
                </a:moveTo>
                <a:lnTo>
                  <a:pt x="2748522" y="332095"/>
                </a:lnTo>
                <a:lnTo>
                  <a:pt x="2832332" y="467663"/>
                </a:lnTo>
                <a:lnTo>
                  <a:pt x="2832332" y="332095"/>
                </a:lnTo>
                <a:lnTo>
                  <a:pt x="2860023" y="332095"/>
                </a:lnTo>
                <a:lnTo>
                  <a:pt x="2860023" y="511496"/>
                </a:lnTo>
                <a:lnTo>
                  <a:pt x="2826431" y="511496"/>
                </a:lnTo>
                <a:lnTo>
                  <a:pt x="2740577" y="372579"/>
                </a:lnTo>
                <a:lnTo>
                  <a:pt x="2740577" y="511496"/>
                </a:lnTo>
                <a:lnTo>
                  <a:pt x="2712886" y="511496"/>
                </a:lnTo>
                <a:close/>
                <a:moveTo>
                  <a:pt x="2577187" y="328418"/>
                </a:moveTo>
                <a:cubicBezTo>
                  <a:pt x="2601435" y="328418"/>
                  <a:pt x="2625685" y="337511"/>
                  <a:pt x="2644123" y="355698"/>
                </a:cubicBezTo>
                <a:cubicBezTo>
                  <a:pt x="2661763" y="373147"/>
                  <a:pt x="2671710" y="396960"/>
                  <a:pt x="2671710" y="421786"/>
                </a:cubicBezTo>
                <a:cubicBezTo>
                  <a:pt x="2671710" y="446609"/>
                  <a:pt x="2661763" y="470422"/>
                  <a:pt x="2644123" y="487872"/>
                </a:cubicBezTo>
                <a:cubicBezTo>
                  <a:pt x="2626317" y="505531"/>
                  <a:pt x="2602208" y="515414"/>
                  <a:pt x="2577130" y="515330"/>
                </a:cubicBezTo>
                <a:cubicBezTo>
                  <a:pt x="2552074" y="515436"/>
                  <a:pt x="2528009" y="505551"/>
                  <a:pt x="2510263" y="487872"/>
                </a:cubicBezTo>
                <a:cubicBezTo>
                  <a:pt x="2492690" y="470380"/>
                  <a:pt x="2482805" y="446589"/>
                  <a:pt x="2482805" y="421786"/>
                </a:cubicBezTo>
                <a:cubicBezTo>
                  <a:pt x="2482805" y="397002"/>
                  <a:pt x="2492690" y="373189"/>
                  <a:pt x="2510263" y="355698"/>
                </a:cubicBezTo>
                <a:cubicBezTo>
                  <a:pt x="2528693" y="337511"/>
                  <a:pt x="2552939" y="328418"/>
                  <a:pt x="2577187" y="328418"/>
                </a:cubicBezTo>
                <a:close/>
                <a:moveTo>
                  <a:pt x="3945986" y="328239"/>
                </a:moveTo>
                <a:cubicBezTo>
                  <a:pt x="3956269" y="328177"/>
                  <a:pt x="3966491" y="329547"/>
                  <a:pt x="3976396" y="332347"/>
                </a:cubicBezTo>
                <a:cubicBezTo>
                  <a:pt x="3985710" y="335005"/>
                  <a:pt x="3994498" y="339261"/>
                  <a:pt x="4002359" y="344908"/>
                </a:cubicBezTo>
                <a:lnTo>
                  <a:pt x="3994814" y="356689"/>
                </a:lnTo>
                <a:lnTo>
                  <a:pt x="3987248" y="368468"/>
                </a:lnTo>
                <a:cubicBezTo>
                  <a:pt x="3981453" y="364001"/>
                  <a:pt x="3974920" y="360565"/>
                  <a:pt x="3967944" y="358353"/>
                </a:cubicBezTo>
                <a:cubicBezTo>
                  <a:pt x="3960738" y="356162"/>
                  <a:pt x="3953256" y="355087"/>
                  <a:pt x="3945733" y="355171"/>
                </a:cubicBezTo>
                <a:cubicBezTo>
                  <a:pt x="3928516" y="355045"/>
                  <a:pt x="3911974" y="361979"/>
                  <a:pt x="3900004" y="374349"/>
                </a:cubicBezTo>
                <a:cubicBezTo>
                  <a:pt x="3887865" y="387119"/>
                  <a:pt x="3881185" y="404168"/>
                  <a:pt x="3881395" y="421806"/>
                </a:cubicBezTo>
                <a:cubicBezTo>
                  <a:pt x="3881121" y="439381"/>
                  <a:pt x="3887612" y="456408"/>
                  <a:pt x="3899498" y="469369"/>
                </a:cubicBezTo>
                <a:cubicBezTo>
                  <a:pt x="3911215" y="481823"/>
                  <a:pt x="3927609" y="488841"/>
                  <a:pt x="3944700" y="488692"/>
                </a:cubicBezTo>
                <a:cubicBezTo>
                  <a:pt x="3959389" y="489135"/>
                  <a:pt x="3973719" y="484057"/>
                  <a:pt x="3984845" y="474469"/>
                </a:cubicBezTo>
                <a:cubicBezTo>
                  <a:pt x="3995003" y="465048"/>
                  <a:pt x="4001642" y="452426"/>
                  <a:pt x="4003664" y="438707"/>
                </a:cubicBezTo>
                <a:lnTo>
                  <a:pt x="3942656" y="438707"/>
                </a:lnTo>
                <a:lnTo>
                  <a:pt x="3950981" y="425642"/>
                </a:lnTo>
                <a:lnTo>
                  <a:pt x="3959327" y="412575"/>
                </a:lnTo>
                <a:lnTo>
                  <a:pt x="4031081" y="412575"/>
                </a:lnTo>
                <a:cubicBezTo>
                  <a:pt x="4031546" y="414451"/>
                  <a:pt x="4031840" y="416370"/>
                  <a:pt x="4032008" y="418308"/>
                </a:cubicBezTo>
                <a:cubicBezTo>
                  <a:pt x="4032240" y="420584"/>
                  <a:pt x="4032366" y="423071"/>
                  <a:pt x="4032366" y="425388"/>
                </a:cubicBezTo>
                <a:cubicBezTo>
                  <a:pt x="4032851" y="449118"/>
                  <a:pt x="4024085" y="472108"/>
                  <a:pt x="4007921" y="489493"/>
                </a:cubicBezTo>
                <a:cubicBezTo>
                  <a:pt x="3991252" y="506500"/>
                  <a:pt x="3968261" y="515857"/>
                  <a:pt x="3944448" y="515352"/>
                </a:cubicBezTo>
                <a:cubicBezTo>
                  <a:pt x="3919750" y="515498"/>
                  <a:pt x="3896022" y="505657"/>
                  <a:pt x="3878676" y="488082"/>
                </a:cubicBezTo>
                <a:cubicBezTo>
                  <a:pt x="3842978" y="451331"/>
                  <a:pt x="3843273" y="391902"/>
                  <a:pt x="3879351" y="355507"/>
                </a:cubicBezTo>
                <a:cubicBezTo>
                  <a:pt x="3897053" y="337954"/>
                  <a:pt x="3921036" y="328133"/>
                  <a:pt x="3945986" y="328239"/>
                </a:cubicBezTo>
                <a:close/>
                <a:moveTo>
                  <a:pt x="2397605" y="328239"/>
                </a:moveTo>
                <a:cubicBezTo>
                  <a:pt x="2419312" y="327690"/>
                  <a:pt x="2440553" y="334750"/>
                  <a:pt x="2457580" y="348217"/>
                </a:cubicBezTo>
                <a:lnTo>
                  <a:pt x="2450142" y="359892"/>
                </a:lnTo>
                <a:lnTo>
                  <a:pt x="2442724" y="371545"/>
                </a:lnTo>
                <a:cubicBezTo>
                  <a:pt x="2436233" y="366340"/>
                  <a:pt x="2428985" y="362167"/>
                  <a:pt x="2421208" y="359176"/>
                </a:cubicBezTo>
                <a:cubicBezTo>
                  <a:pt x="2413157" y="356246"/>
                  <a:pt x="2404643" y="354793"/>
                  <a:pt x="2396068" y="354897"/>
                </a:cubicBezTo>
                <a:cubicBezTo>
                  <a:pt x="2378935" y="354855"/>
                  <a:pt x="2362518" y="361831"/>
                  <a:pt x="2350675" y="374223"/>
                </a:cubicBezTo>
                <a:cubicBezTo>
                  <a:pt x="2325891" y="400900"/>
                  <a:pt x="2325891" y="442689"/>
                  <a:pt x="2350675" y="469369"/>
                </a:cubicBezTo>
                <a:cubicBezTo>
                  <a:pt x="2362518" y="481739"/>
                  <a:pt x="2378935" y="488737"/>
                  <a:pt x="2396068" y="488692"/>
                </a:cubicBezTo>
                <a:cubicBezTo>
                  <a:pt x="2404643" y="488779"/>
                  <a:pt x="2413157" y="487323"/>
                  <a:pt x="2421208" y="484394"/>
                </a:cubicBezTo>
                <a:cubicBezTo>
                  <a:pt x="2428985" y="481402"/>
                  <a:pt x="2436233" y="477230"/>
                  <a:pt x="2442724" y="472024"/>
                </a:cubicBezTo>
                <a:lnTo>
                  <a:pt x="2450142" y="483699"/>
                </a:lnTo>
                <a:lnTo>
                  <a:pt x="2457580" y="495352"/>
                </a:lnTo>
                <a:cubicBezTo>
                  <a:pt x="2440553" y="508819"/>
                  <a:pt x="2419312" y="515899"/>
                  <a:pt x="2397605" y="515330"/>
                </a:cubicBezTo>
                <a:cubicBezTo>
                  <a:pt x="2372379" y="515521"/>
                  <a:pt x="2348104" y="505722"/>
                  <a:pt x="2330086" y="488062"/>
                </a:cubicBezTo>
                <a:cubicBezTo>
                  <a:pt x="2312362" y="470590"/>
                  <a:pt x="2302415" y="446674"/>
                  <a:pt x="2302521" y="421786"/>
                </a:cubicBezTo>
                <a:cubicBezTo>
                  <a:pt x="2302415" y="396898"/>
                  <a:pt x="2312362" y="372979"/>
                  <a:pt x="2330086" y="355507"/>
                </a:cubicBezTo>
                <a:cubicBezTo>
                  <a:pt x="2348104" y="337870"/>
                  <a:pt x="2372379" y="328049"/>
                  <a:pt x="2397605" y="328239"/>
                </a:cubicBezTo>
                <a:close/>
                <a:moveTo>
                  <a:pt x="2967329" y="328177"/>
                </a:moveTo>
                <a:lnTo>
                  <a:pt x="2967709" y="328177"/>
                </a:lnTo>
                <a:cubicBezTo>
                  <a:pt x="2968594" y="328177"/>
                  <a:pt x="2969479" y="328197"/>
                  <a:pt x="2970364" y="328239"/>
                </a:cubicBezTo>
                <a:cubicBezTo>
                  <a:pt x="2980499" y="328197"/>
                  <a:pt x="2990573" y="329757"/>
                  <a:pt x="3000226" y="332854"/>
                </a:cubicBezTo>
                <a:cubicBezTo>
                  <a:pt x="3008971" y="335677"/>
                  <a:pt x="3017211" y="339830"/>
                  <a:pt x="3024691" y="345162"/>
                </a:cubicBezTo>
                <a:lnTo>
                  <a:pt x="3017527" y="356563"/>
                </a:lnTo>
                <a:lnTo>
                  <a:pt x="3010341" y="367963"/>
                </a:lnTo>
                <a:cubicBezTo>
                  <a:pt x="3004082" y="363833"/>
                  <a:pt x="2997380" y="360461"/>
                  <a:pt x="2990321" y="357910"/>
                </a:cubicBezTo>
                <a:cubicBezTo>
                  <a:pt x="2983829" y="355594"/>
                  <a:pt x="2977002" y="354412"/>
                  <a:pt x="2970112" y="354392"/>
                </a:cubicBezTo>
                <a:cubicBezTo>
                  <a:pt x="2961660" y="353866"/>
                  <a:pt x="2953315" y="356521"/>
                  <a:pt x="2946720" y="361808"/>
                </a:cubicBezTo>
                <a:cubicBezTo>
                  <a:pt x="2941662" y="366488"/>
                  <a:pt x="2938879" y="373125"/>
                  <a:pt x="2939091" y="380017"/>
                </a:cubicBezTo>
                <a:cubicBezTo>
                  <a:pt x="2938879" y="387539"/>
                  <a:pt x="2943010" y="394537"/>
                  <a:pt x="2949691" y="397993"/>
                </a:cubicBezTo>
                <a:cubicBezTo>
                  <a:pt x="2958605" y="402566"/>
                  <a:pt x="2968046" y="406084"/>
                  <a:pt x="2977802" y="408445"/>
                </a:cubicBezTo>
                <a:cubicBezTo>
                  <a:pt x="2991248" y="411754"/>
                  <a:pt x="3004040" y="417339"/>
                  <a:pt x="3015567" y="424987"/>
                </a:cubicBezTo>
                <a:cubicBezTo>
                  <a:pt x="3026799" y="433332"/>
                  <a:pt x="3033120" y="446778"/>
                  <a:pt x="3032384" y="460749"/>
                </a:cubicBezTo>
                <a:cubicBezTo>
                  <a:pt x="3032804" y="475564"/>
                  <a:pt x="3026757" y="489852"/>
                  <a:pt x="3015819" y="499863"/>
                </a:cubicBezTo>
                <a:cubicBezTo>
                  <a:pt x="3002712" y="510653"/>
                  <a:pt x="2986042" y="516173"/>
                  <a:pt x="2969079" y="515330"/>
                </a:cubicBezTo>
                <a:cubicBezTo>
                  <a:pt x="2956581" y="515456"/>
                  <a:pt x="2944169" y="513392"/>
                  <a:pt x="2932390" y="509219"/>
                </a:cubicBezTo>
                <a:cubicBezTo>
                  <a:pt x="2922821" y="505699"/>
                  <a:pt x="2913761" y="500852"/>
                  <a:pt x="2905520" y="494825"/>
                </a:cubicBezTo>
                <a:lnTo>
                  <a:pt x="2919872" y="472024"/>
                </a:lnTo>
                <a:cubicBezTo>
                  <a:pt x="2927352" y="476955"/>
                  <a:pt x="2935319" y="481086"/>
                  <a:pt x="2943642" y="484352"/>
                </a:cubicBezTo>
                <a:cubicBezTo>
                  <a:pt x="2951839" y="487513"/>
                  <a:pt x="2960565" y="489157"/>
                  <a:pt x="2969353" y="489199"/>
                </a:cubicBezTo>
                <a:cubicBezTo>
                  <a:pt x="2978435" y="489684"/>
                  <a:pt x="2987433" y="486987"/>
                  <a:pt x="2994745" y="481528"/>
                </a:cubicBezTo>
                <a:cubicBezTo>
                  <a:pt x="3000394" y="476871"/>
                  <a:pt x="3003597" y="469853"/>
                  <a:pt x="3003429" y="462541"/>
                </a:cubicBezTo>
                <a:cubicBezTo>
                  <a:pt x="3003575" y="455039"/>
                  <a:pt x="2999403" y="448085"/>
                  <a:pt x="2992723" y="444671"/>
                </a:cubicBezTo>
                <a:cubicBezTo>
                  <a:pt x="2983851" y="440056"/>
                  <a:pt x="2974453" y="436494"/>
                  <a:pt x="2964716" y="434091"/>
                </a:cubicBezTo>
                <a:cubicBezTo>
                  <a:pt x="2951251" y="430846"/>
                  <a:pt x="2938436" y="425284"/>
                  <a:pt x="2926848" y="417655"/>
                </a:cubicBezTo>
                <a:cubicBezTo>
                  <a:pt x="2915635" y="409268"/>
                  <a:pt x="2909356" y="395781"/>
                  <a:pt x="2910135" y="381809"/>
                </a:cubicBezTo>
                <a:cubicBezTo>
                  <a:pt x="2909692" y="367289"/>
                  <a:pt x="2915467" y="353275"/>
                  <a:pt x="2926025" y="343306"/>
                </a:cubicBezTo>
                <a:cubicBezTo>
                  <a:pt x="2937593" y="333507"/>
                  <a:pt x="2952240" y="328177"/>
                  <a:pt x="2967329" y="328177"/>
                </a:cubicBezTo>
                <a:close/>
                <a:moveTo>
                  <a:pt x="175520" y="167447"/>
                </a:moveTo>
                <a:lnTo>
                  <a:pt x="175520" y="344129"/>
                </a:lnTo>
                <a:lnTo>
                  <a:pt x="375298" y="344129"/>
                </a:lnTo>
                <a:cubicBezTo>
                  <a:pt x="399155" y="344445"/>
                  <a:pt x="422208" y="335299"/>
                  <a:pt x="439383" y="318714"/>
                </a:cubicBezTo>
                <a:cubicBezTo>
                  <a:pt x="456264" y="301939"/>
                  <a:pt x="465663" y="279012"/>
                  <a:pt x="465366" y="255219"/>
                </a:cubicBezTo>
                <a:cubicBezTo>
                  <a:pt x="465705" y="231575"/>
                  <a:pt x="456306" y="208793"/>
                  <a:pt x="439383" y="192273"/>
                </a:cubicBezTo>
                <a:cubicBezTo>
                  <a:pt x="422060" y="175982"/>
                  <a:pt x="399070" y="167068"/>
                  <a:pt x="375298" y="167447"/>
                </a:cubicBezTo>
                <a:close/>
                <a:moveTo>
                  <a:pt x="2340453" y="118368"/>
                </a:moveTo>
                <a:lnTo>
                  <a:pt x="2340453" y="171157"/>
                </a:lnTo>
                <a:lnTo>
                  <a:pt x="2387090" y="171157"/>
                </a:lnTo>
                <a:cubicBezTo>
                  <a:pt x="2394528" y="171283"/>
                  <a:pt x="2401714" y="168522"/>
                  <a:pt x="2407130" y="163445"/>
                </a:cubicBezTo>
                <a:cubicBezTo>
                  <a:pt x="2412188" y="158533"/>
                  <a:pt x="2415033" y="151770"/>
                  <a:pt x="2415033" y="144710"/>
                </a:cubicBezTo>
                <a:cubicBezTo>
                  <a:pt x="2415033" y="137672"/>
                  <a:pt x="2412188" y="130906"/>
                  <a:pt x="2407130" y="125997"/>
                </a:cubicBezTo>
                <a:cubicBezTo>
                  <a:pt x="2401862" y="121107"/>
                  <a:pt x="2394950" y="118388"/>
                  <a:pt x="2387784" y="118368"/>
                </a:cubicBezTo>
                <a:lnTo>
                  <a:pt x="2387448" y="118368"/>
                </a:lnTo>
                <a:cubicBezTo>
                  <a:pt x="2387322" y="118368"/>
                  <a:pt x="2387216" y="118368"/>
                  <a:pt x="2387090" y="118368"/>
                </a:cubicBezTo>
                <a:close/>
                <a:moveTo>
                  <a:pt x="2340453" y="43008"/>
                </a:moveTo>
                <a:lnTo>
                  <a:pt x="2340453" y="93248"/>
                </a:lnTo>
                <a:lnTo>
                  <a:pt x="2382494" y="93248"/>
                </a:lnTo>
                <a:cubicBezTo>
                  <a:pt x="2389386" y="93394"/>
                  <a:pt x="2396088" y="90823"/>
                  <a:pt x="2401103" y="86062"/>
                </a:cubicBezTo>
                <a:cubicBezTo>
                  <a:pt x="2410734" y="76137"/>
                  <a:pt x="2410734" y="60121"/>
                  <a:pt x="2401103" y="50194"/>
                </a:cubicBezTo>
                <a:cubicBezTo>
                  <a:pt x="2396256" y="45579"/>
                  <a:pt x="2389809" y="43008"/>
                  <a:pt x="2383127" y="43008"/>
                </a:cubicBezTo>
                <a:lnTo>
                  <a:pt x="2382811" y="43008"/>
                </a:lnTo>
                <a:cubicBezTo>
                  <a:pt x="2382707" y="43008"/>
                  <a:pt x="2382601" y="43008"/>
                  <a:pt x="2382494" y="43008"/>
                </a:cubicBezTo>
                <a:close/>
                <a:moveTo>
                  <a:pt x="3103717" y="40459"/>
                </a:moveTo>
                <a:cubicBezTo>
                  <a:pt x="3086394" y="40459"/>
                  <a:pt x="3069789" y="47433"/>
                  <a:pt x="3057672" y="59825"/>
                </a:cubicBezTo>
                <a:cubicBezTo>
                  <a:pt x="3032658" y="86146"/>
                  <a:pt x="3032658" y="128019"/>
                  <a:pt x="3057672" y="154340"/>
                </a:cubicBezTo>
                <a:cubicBezTo>
                  <a:pt x="3069725" y="166774"/>
                  <a:pt x="3086332" y="173770"/>
                  <a:pt x="3103653" y="173728"/>
                </a:cubicBezTo>
                <a:cubicBezTo>
                  <a:pt x="3121019" y="173812"/>
                  <a:pt x="3137709" y="166859"/>
                  <a:pt x="3149847" y="154444"/>
                </a:cubicBezTo>
                <a:cubicBezTo>
                  <a:pt x="3174945" y="128103"/>
                  <a:pt x="3174903" y="86124"/>
                  <a:pt x="3149743" y="59825"/>
                </a:cubicBezTo>
                <a:cubicBezTo>
                  <a:pt x="3137645" y="47433"/>
                  <a:pt x="3121041" y="40459"/>
                  <a:pt x="3103717" y="40459"/>
                </a:cubicBezTo>
                <a:close/>
                <a:moveTo>
                  <a:pt x="2572073" y="40459"/>
                </a:moveTo>
                <a:cubicBezTo>
                  <a:pt x="2554751" y="40459"/>
                  <a:pt x="2538145" y="47433"/>
                  <a:pt x="2526027" y="59825"/>
                </a:cubicBezTo>
                <a:cubicBezTo>
                  <a:pt x="2501013" y="86146"/>
                  <a:pt x="2501013" y="128019"/>
                  <a:pt x="2526027" y="154340"/>
                </a:cubicBezTo>
                <a:cubicBezTo>
                  <a:pt x="2538083" y="166774"/>
                  <a:pt x="2554687" y="173770"/>
                  <a:pt x="2572011" y="173728"/>
                </a:cubicBezTo>
                <a:cubicBezTo>
                  <a:pt x="2589374" y="173812"/>
                  <a:pt x="2606065" y="166859"/>
                  <a:pt x="2618204" y="154444"/>
                </a:cubicBezTo>
                <a:cubicBezTo>
                  <a:pt x="2643302" y="128103"/>
                  <a:pt x="2643260" y="86124"/>
                  <a:pt x="2618120" y="59825"/>
                </a:cubicBezTo>
                <a:cubicBezTo>
                  <a:pt x="2606003" y="47433"/>
                  <a:pt x="2589396" y="40459"/>
                  <a:pt x="2572073" y="40459"/>
                </a:cubicBezTo>
                <a:close/>
                <a:moveTo>
                  <a:pt x="3239241" y="17383"/>
                </a:moveTo>
                <a:lnTo>
                  <a:pt x="3274857" y="17383"/>
                </a:lnTo>
                <a:lnTo>
                  <a:pt x="3316772" y="85177"/>
                </a:lnTo>
                <a:lnTo>
                  <a:pt x="3358687" y="152971"/>
                </a:lnTo>
                <a:lnTo>
                  <a:pt x="3358687" y="17383"/>
                </a:lnTo>
                <a:lnTo>
                  <a:pt x="3386356" y="17383"/>
                </a:lnTo>
                <a:lnTo>
                  <a:pt x="3386356" y="196804"/>
                </a:lnTo>
                <a:lnTo>
                  <a:pt x="3352786" y="196804"/>
                </a:lnTo>
                <a:lnTo>
                  <a:pt x="3309838" y="127344"/>
                </a:lnTo>
                <a:lnTo>
                  <a:pt x="3266912" y="57887"/>
                </a:lnTo>
                <a:lnTo>
                  <a:pt x="3266912" y="196804"/>
                </a:lnTo>
                <a:lnTo>
                  <a:pt x="3239241" y="196804"/>
                </a:lnTo>
                <a:close/>
                <a:moveTo>
                  <a:pt x="2849255" y="17383"/>
                </a:moveTo>
                <a:lnTo>
                  <a:pt x="2990995" y="17383"/>
                </a:lnTo>
                <a:lnTo>
                  <a:pt x="2990995" y="44041"/>
                </a:lnTo>
                <a:lnTo>
                  <a:pt x="2934602" y="44041"/>
                </a:lnTo>
                <a:lnTo>
                  <a:pt x="2934602" y="196804"/>
                </a:lnTo>
                <a:lnTo>
                  <a:pt x="2905393" y="196804"/>
                </a:lnTo>
                <a:lnTo>
                  <a:pt x="2905393" y="44041"/>
                </a:lnTo>
                <a:lnTo>
                  <a:pt x="2849255" y="44041"/>
                </a:lnTo>
                <a:close/>
                <a:moveTo>
                  <a:pt x="2311499" y="17383"/>
                </a:moveTo>
                <a:lnTo>
                  <a:pt x="2382727" y="17383"/>
                </a:lnTo>
                <a:cubicBezTo>
                  <a:pt x="2397079" y="17045"/>
                  <a:pt x="2411050" y="21850"/>
                  <a:pt x="2422113" y="30974"/>
                </a:cubicBezTo>
                <a:cubicBezTo>
                  <a:pt x="2432166" y="39532"/>
                  <a:pt x="2437941" y="52112"/>
                  <a:pt x="2437856" y="65325"/>
                </a:cubicBezTo>
                <a:cubicBezTo>
                  <a:pt x="2437918" y="72721"/>
                  <a:pt x="2435916" y="80013"/>
                  <a:pt x="2432124" y="86356"/>
                </a:cubicBezTo>
                <a:cubicBezTo>
                  <a:pt x="2428288" y="92615"/>
                  <a:pt x="2422936" y="97799"/>
                  <a:pt x="2416571" y="101445"/>
                </a:cubicBezTo>
                <a:cubicBezTo>
                  <a:pt x="2424958" y="105408"/>
                  <a:pt x="2432082" y="111583"/>
                  <a:pt x="2437202" y="119295"/>
                </a:cubicBezTo>
                <a:cubicBezTo>
                  <a:pt x="2442197" y="126944"/>
                  <a:pt x="2444810" y="135900"/>
                  <a:pt x="2444768" y="145026"/>
                </a:cubicBezTo>
                <a:cubicBezTo>
                  <a:pt x="2444852" y="158998"/>
                  <a:pt x="2438994" y="172359"/>
                  <a:pt x="2428646" y="181777"/>
                </a:cubicBezTo>
                <a:cubicBezTo>
                  <a:pt x="2417267" y="191788"/>
                  <a:pt x="2402515" y="197162"/>
                  <a:pt x="2387364" y="196804"/>
                </a:cubicBezTo>
                <a:lnTo>
                  <a:pt x="2311499" y="196804"/>
                </a:lnTo>
                <a:close/>
                <a:moveTo>
                  <a:pt x="3103717" y="13721"/>
                </a:moveTo>
                <a:cubicBezTo>
                  <a:pt x="3127963" y="13721"/>
                  <a:pt x="3152208" y="22809"/>
                  <a:pt x="3170646" y="40986"/>
                </a:cubicBezTo>
                <a:cubicBezTo>
                  <a:pt x="3188286" y="58455"/>
                  <a:pt x="3198233" y="82268"/>
                  <a:pt x="3198233" y="107094"/>
                </a:cubicBezTo>
                <a:cubicBezTo>
                  <a:pt x="3198233" y="131917"/>
                  <a:pt x="3188286" y="155730"/>
                  <a:pt x="3170646" y="173179"/>
                </a:cubicBezTo>
                <a:cubicBezTo>
                  <a:pt x="3152840" y="190839"/>
                  <a:pt x="3128731" y="200722"/>
                  <a:pt x="3103653" y="200638"/>
                </a:cubicBezTo>
                <a:cubicBezTo>
                  <a:pt x="3078619" y="200722"/>
                  <a:pt x="3054532" y="190839"/>
                  <a:pt x="3036789" y="173179"/>
                </a:cubicBezTo>
                <a:cubicBezTo>
                  <a:pt x="3019213" y="155688"/>
                  <a:pt x="3009330" y="131875"/>
                  <a:pt x="3009330" y="107094"/>
                </a:cubicBezTo>
                <a:cubicBezTo>
                  <a:pt x="3009330" y="82290"/>
                  <a:pt x="3019213" y="58497"/>
                  <a:pt x="3036789" y="40986"/>
                </a:cubicBezTo>
                <a:cubicBezTo>
                  <a:pt x="3055227" y="22809"/>
                  <a:pt x="3079472" y="13721"/>
                  <a:pt x="3103717" y="13721"/>
                </a:cubicBezTo>
                <a:close/>
                <a:moveTo>
                  <a:pt x="2572074" y="13721"/>
                </a:moveTo>
                <a:cubicBezTo>
                  <a:pt x="2596319" y="13721"/>
                  <a:pt x="2620564" y="22809"/>
                  <a:pt x="2639004" y="40986"/>
                </a:cubicBezTo>
                <a:cubicBezTo>
                  <a:pt x="2656641" y="58455"/>
                  <a:pt x="2666588" y="82268"/>
                  <a:pt x="2666588" y="107094"/>
                </a:cubicBezTo>
                <a:cubicBezTo>
                  <a:pt x="2666588" y="131917"/>
                  <a:pt x="2656641" y="155730"/>
                  <a:pt x="2639004" y="173179"/>
                </a:cubicBezTo>
                <a:cubicBezTo>
                  <a:pt x="2621196" y="190839"/>
                  <a:pt x="2597089" y="200722"/>
                  <a:pt x="2572011" y="200638"/>
                </a:cubicBezTo>
                <a:cubicBezTo>
                  <a:pt x="2546974" y="200722"/>
                  <a:pt x="2522888" y="190839"/>
                  <a:pt x="2505144" y="173179"/>
                </a:cubicBezTo>
                <a:cubicBezTo>
                  <a:pt x="2487568" y="155688"/>
                  <a:pt x="2477685" y="131875"/>
                  <a:pt x="2477685" y="107094"/>
                </a:cubicBezTo>
                <a:cubicBezTo>
                  <a:pt x="2477685" y="82290"/>
                  <a:pt x="2487568" y="58497"/>
                  <a:pt x="2505144" y="40986"/>
                </a:cubicBezTo>
                <a:cubicBezTo>
                  <a:pt x="2523584" y="22809"/>
                  <a:pt x="2547829" y="13721"/>
                  <a:pt x="2572074" y="13721"/>
                </a:cubicBezTo>
                <a:close/>
                <a:moveTo>
                  <a:pt x="2759628" y="13547"/>
                </a:moveTo>
                <a:cubicBezTo>
                  <a:pt x="2769744" y="13505"/>
                  <a:pt x="2779837" y="15065"/>
                  <a:pt x="2789468" y="18162"/>
                </a:cubicBezTo>
                <a:cubicBezTo>
                  <a:pt x="2798214" y="20987"/>
                  <a:pt x="2806475" y="25118"/>
                  <a:pt x="2813955" y="30470"/>
                </a:cubicBezTo>
                <a:lnTo>
                  <a:pt x="2806769" y="41871"/>
                </a:lnTo>
                <a:lnTo>
                  <a:pt x="2799605" y="53271"/>
                </a:lnTo>
                <a:cubicBezTo>
                  <a:pt x="2793346" y="49141"/>
                  <a:pt x="2786623" y="45747"/>
                  <a:pt x="2779585" y="43198"/>
                </a:cubicBezTo>
                <a:cubicBezTo>
                  <a:pt x="2773093" y="40902"/>
                  <a:pt x="2766246" y="39700"/>
                  <a:pt x="2759354" y="39678"/>
                </a:cubicBezTo>
                <a:cubicBezTo>
                  <a:pt x="2750903" y="39174"/>
                  <a:pt x="2742579" y="41829"/>
                  <a:pt x="2735984" y="47119"/>
                </a:cubicBezTo>
                <a:cubicBezTo>
                  <a:pt x="2730926" y="51796"/>
                  <a:pt x="2728143" y="58435"/>
                  <a:pt x="2728355" y="65325"/>
                </a:cubicBezTo>
                <a:cubicBezTo>
                  <a:pt x="2728143" y="72827"/>
                  <a:pt x="2732274" y="79845"/>
                  <a:pt x="2738955" y="83281"/>
                </a:cubicBezTo>
                <a:cubicBezTo>
                  <a:pt x="2747869" y="87874"/>
                  <a:pt x="2757310" y="91394"/>
                  <a:pt x="2767067" y="93775"/>
                </a:cubicBezTo>
                <a:cubicBezTo>
                  <a:pt x="2780512" y="97062"/>
                  <a:pt x="2793282" y="102647"/>
                  <a:pt x="2804831" y="110297"/>
                </a:cubicBezTo>
                <a:cubicBezTo>
                  <a:pt x="2816041" y="118640"/>
                  <a:pt x="2822365" y="132085"/>
                  <a:pt x="2821648" y="146057"/>
                </a:cubicBezTo>
                <a:cubicBezTo>
                  <a:pt x="2822048" y="160874"/>
                  <a:pt x="2815999" y="175140"/>
                  <a:pt x="2805083" y="185171"/>
                </a:cubicBezTo>
                <a:cubicBezTo>
                  <a:pt x="2791977" y="195939"/>
                  <a:pt x="2775306" y="201461"/>
                  <a:pt x="2758343" y="200638"/>
                </a:cubicBezTo>
                <a:cubicBezTo>
                  <a:pt x="2745845" y="200744"/>
                  <a:pt x="2733433" y="198678"/>
                  <a:pt x="2721654" y="194505"/>
                </a:cubicBezTo>
                <a:cubicBezTo>
                  <a:pt x="2712065" y="191007"/>
                  <a:pt x="2703025" y="186162"/>
                  <a:pt x="2694764" y="180133"/>
                </a:cubicBezTo>
                <a:lnTo>
                  <a:pt x="2701950" y="168732"/>
                </a:lnTo>
                <a:lnTo>
                  <a:pt x="2709114" y="157332"/>
                </a:lnTo>
                <a:cubicBezTo>
                  <a:pt x="2716596" y="162263"/>
                  <a:pt x="2724561" y="166394"/>
                  <a:pt x="2732906" y="169659"/>
                </a:cubicBezTo>
                <a:cubicBezTo>
                  <a:pt x="2741104" y="172821"/>
                  <a:pt x="2749807" y="174445"/>
                  <a:pt x="2758595" y="174487"/>
                </a:cubicBezTo>
                <a:cubicBezTo>
                  <a:pt x="2767699" y="174991"/>
                  <a:pt x="2776678" y="172275"/>
                  <a:pt x="2783990" y="166836"/>
                </a:cubicBezTo>
                <a:cubicBezTo>
                  <a:pt x="2789636" y="162159"/>
                  <a:pt x="2792840" y="155161"/>
                  <a:pt x="2792671" y="147849"/>
                </a:cubicBezTo>
                <a:cubicBezTo>
                  <a:pt x="2792820" y="140347"/>
                  <a:pt x="2788667" y="133393"/>
                  <a:pt x="2781987" y="129957"/>
                </a:cubicBezTo>
                <a:cubicBezTo>
                  <a:pt x="2773093" y="125342"/>
                  <a:pt x="2763695" y="121802"/>
                  <a:pt x="2753980" y="119379"/>
                </a:cubicBezTo>
                <a:cubicBezTo>
                  <a:pt x="2740493" y="116156"/>
                  <a:pt x="2727681" y="110592"/>
                  <a:pt x="2716112" y="102963"/>
                </a:cubicBezTo>
                <a:cubicBezTo>
                  <a:pt x="2704899" y="94576"/>
                  <a:pt x="2698598" y="81089"/>
                  <a:pt x="2699399" y="67095"/>
                </a:cubicBezTo>
                <a:cubicBezTo>
                  <a:pt x="2698956" y="52597"/>
                  <a:pt x="2704731" y="38561"/>
                  <a:pt x="2715289" y="28594"/>
                </a:cubicBezTo>
                <a:cubicBezTo>
                  <a:pt x="2727617" y="18162"/>
                  <a:pt x="2743464" y="12768"/>
                  <a:pt x="2759628" y="13547"/>
                </a:cubicBezTo>
                <a:close/>
                <a:moveTo>
                  <a:pt x="969973" y="17"/>
                </a:moveTo>
                <a:cubicBezTo>
                  <a:pt x="1015050" y="-277"/>
                  <a:pt x="1059958" y="5792"/>
                  <a:pt x="1103348" y="18058"/>
                </a:cubicBezTo>
                <a:cubicBezTo>
                  <a:pt x="1143600" y="29500"/>
                  <a:pt x="1181638" y="47603"/>
                  <a:pt x="1215924" y="71606"/>
                </a:cubicBezTo>
                <a:lnTo>
                  <a:pt x="1171459" y="141464"/>
                </a:lnTo>
                <a:lnTo>
                  <a:pt x="1127015" y="211322"/>
                </a:lnTo>
                <a:cubicBezTo>
                  <a:pt x="1105393" y="195034"/>
                  <a:pt x="1081200" y="182494"/>
                  <a:pt x="1055427" y="174232"/>
                </a:cubicBezTo>
                <a:cubicBezTo>
                  <a:pt x="1027758" y="165489"/>
                  <a:pt x="998972" y="160851"/>
                  <a:pt x="969973" y="160515"/>
                </a:cubicBezTo>
                <a:cubicBezTo>
                  <a:pt x="899737" y="161126"/>
                  <a:pt x="832469" y="189279"/>
                  <a:pt x="782756" y="238909"/>
                </a:cubicBezTo>
                <a:cubicBezTo>
                  <a:pt x="733422" y="286724"/>
                  <a:pt x="705543" y="352558"/>
                  <a:pt x="705543" y="421279"/>
                </a:cubicBezTo>
                <a:cubicBezTo>
                  <a:pt x="705543" y="489980"/>
                  <a:pt x="733422" y="555833"/>
                  <a:pt x="782756" y="603649"/>
                </a:cubicBezTo>
                <a:cubicBezTo>
                  <a:pt x="832363" y="653341"/>
                  <a:pt x="899757" y="681286"/>
                  <a:pt x="969973" y="681306"/>
                </a:cubicBezTo>
                <a:cubicBezTo>
                  <a:pt x="1004155" y="681580"/>
                  <a:pt x="1038041" y="674899"/>
                  <a:pt x="1069569" y="661666"/>
                </a:cubicBezTo>
                <a:cubicBezTo>
                  <a:pt x="1101030" y="648031"/>
                  <a:pt x="1129564" y="628433"/>
                  <a:pt x="1153567" y="603945"/>
                </a:cubicBezTo>
                <a:cubicBezTo>
                  <a:pt x="1214197" y="543315"/>
                  <a:pt x="1224880" y="467389"/>
                  <a:pt x="1242773" y="384254"/>
                </a:cubicBezTo>
                <a:cubicBezTo>
                  <a:pt x="1260662" y="301116"/>
                  <a:pt x="1285783" y="210753"/>
                  <a:pt x="1375283" y="121255"/>
                </a:cubicBezTo>
                <a:cubicBezTo>
                  <a:pt x="1413215" y="83152"/>
                  <a:pt x="1458354" y="52977"/>
                  <a:pt x="1508067" y="32492"/>
                </a:cubicBezTo>
                <a:cubicBezTo>
                  <a:pt x="1562352" y="10555"/>
                  <a:pt x="1620411" y="-487"/>
                  <a:pt x="1678975" y="17"/>
                </a:cubicBezTo>
                <a:cubicBezTo>
                  <a:pt x="1724135" y="-193"/>
                  <a:pt x="1769063" y="6276"/>
                  <a:pt x="1812328" y="19217"/>
                </a:cubicBezTo>
                <a:cubicBezTo>
                  <a:pt x="1852557" y="31312"/>
                  <a:pt x="1890573" y="49773"/>
                  <a:pt x="1924924" y="73922"/>
                </a:cubicBezTo>
                <a:lnTo>
                  <a:pt x="1881049" y="143782"/>
                </a:lnTo>
                <a:lnTo>
                  <a:pt x="1837151" y="213640"/>
                </a:lnTo>
                <a:cubicBezTo>
                  <a:pt x="1815047" y="197224"/>
                  <a:pt x="1790495" y="184370"/>
                  <a:pt x="1764406" y="175540"/>
                </a:cubicBezTo>
                <a:cubicBezTo>
                  <a:pt x="1736505" y="166225"/>
                  <a:pt x="1707234" y="161546"/>
                  <a:pt x="1677815" y="161674"/>
                </a:cubicBezTo>
                <a:cubicBezTo>
                  <a:pt x="1609221" y="161652"/>
                  <a:pt x="1543429" y="189237"/>
                  <a:pt x="1495359" y="238170"/>
                </a:cubicBezTo>
                <a:cubicBezTo>
                  <a:pt x="1447353" y="286618"/>
                  <a:pt x="1420359" y="352135"/>
                  <a:pt x="1420317" y="420330"/>
                </a:cubicBezTo>
                <a:cubicBezTo>
                  <a:pt x="1420169" y="489199"/>
                  <a:pt x="1446849" y="555497"/>
                  <a:pt x="1494642" y="605083"/>
                </a:cubicBezTo>
                <a:cubicBezTo>
                  <a:pt x="1541847" y="654438"/>
                  <a:pt x="1607218" y="682401"/>
                  <a:pt x="1675497" y="682465"/>
                </a:cubicBezTo>
                <a:cubicBezTo>
                  <a:pt x="1728076" y="683056"/>
                  <a:pt x="1779263" y="665522"/>
                  <a:pt x="1820419" y="632794"/>
                </a:cubicBezTo>
                <a:cubicBezTo>
                  <a:pt x="1860163" y="600299"/>
                  <a:pt x="1888994" y="556340"/>
                  <a:pt x="1902985" y="506943"/>
                </a:cubicBezTo>
                <a:lnTo>
                  <a:pt x="1651261" y="506943"/>
                </a:lnTo>
                <a:lnTo>
                  <a:pt x="1700911" y="428991"/>
                </a:lnTo>
                <a:lnTo>
                  <a:pt x="1750561" y="351062"/>
                </a:lnTo>
                <a:lnTo>
                  <a:pt x="2077348" y="351062"/>
                </a:lnTo>
                <a:cubicBezTo>
                  <a:pt x="2079076" y="362589"/>
                  <a:pt x="2080510" y="374138"/>
                  <a:pt x="2081521" y="385833"/>
                </a:cubicBezTo>
                <a:cubicBezTo>
                  <a:pt x="2082532" y="397528"/>
                  <a:pt x="2083123" y="409371"/>
                  <a:pt x="2083123" y="421489"/>
                </a:cubicBezTo>
                <a:cubicBezTo>
                  <a:pt x="2083713" y="532421"/>
                  <a:pt x="2040976" y="639327"/>
                  <a:pt x="1964035" y="719261"/>
                </a:cubicBezTo>
                <a:cubicBezTo>
                  <a:pt x="1887286" y="798685"/>
                  <a:pt x="1781327" y="843403"/>
                  <a:pt x="1670881" y="842961"/>
                </a:cubicBezTo>
                <a:cubicBezTo>
                  <a:pt x="1599315" y="843403"/>
                  <a:pt x="1528718" y="826418"/>
                  <a:pt x="1465203" y="793459"/>
                </a:cubicBezTo>
                <a:cubicBezTo>
                  <a:pt x="1405817" y="762439"/>
                  <a:pt x="1355072" y="717152"/>
                  <a:pt x="1317540" y="661666"/>
                </a:cubicBezTo>
                <a:cubicBezTo>
                  <a:pt x="1279187" y="717026"/>
                  <a:pt x="1228104" y="762377"/>
                  <a:pt x="1168571" y="793882"/>
                </a:cubicBezTo>
                <a:cubicBezTo>
                  <a:pt x="1105477" y="826693"/>
                  <a:pt x="1035302" y="843529"/>
                  <a:pt x="964201" y="842961"/>
                </a:cubicBezTo>
                <a:cubicBezTo>
                  <a:pt x="902896" y="843173"/>
                  <a:pt x="842268" y="830275"/>
                  <a:pt x="786360" y="805135"/>
                </a:cubicBezTo>
                <a:cubicBezTo>
                  <a:pt x="733296" y="781132"/>
                  <a:pt x="685713" y="746445"/>
                  <a:pt x="646641" y="703245"/>
                </a:cubicBezTo>
                <a:cubicBezTo>
                  <a:pt x="624683" y="740438"/>
                  <a:pt x="593051" y="771016"/>
                  <a:pt x="555141" y="791709"/>
                </a:cubicBezTo>
                <a:cubicBezTo>
                  <a:pt x="512678" y="814575"/>
                  <a:pt x="465072" y="826250"/>
                  <a:pt x="416856" y="825640"/>
                </a:cubicBezTo>
                <a:lnTo>
                  <a:pt x="0" y="825640"/>
                </a:lnTo>
                <a:lnTo>
                  <a:pt x="0" y="17341"/>
                </a:lnTo>
                <a:lnTo>
                  <a:pt x="377596" y="17341"/>
                </a:lnTo>
                <a:cubicBezTo>
                  <a:pt x="433040" y="16434"/>
                  <a:pt x="487515" y="31903"/>
                  <a:pt x="534216" y="61807"/>
                </a:cubicBezTo>
                <a:cubicBezTo>
                  <a:pt x="575666" y="88591"/>
                  <a:pt x="606793" y="128713"/>
                  <a:pt x="622408" y="175540"/>
                </a:cubicBezTo>
                <a:cubicBezTo>
                  <a:pt x="661120" y="122244"/>
                  <a:pt x="711738" y="78708"/>
                  <a:pt x="770196" y="48382"/>
                </a:cubicBezTo>
                <a:cubicBezTo>
                  <a:pt x="831921" y="16414"/>
                  <a:pt x="900451" y="-171"/>
                  <a:pt x="969973" y="17"/>
                </a:cubicBezTo>
                <a:close/>
              </a:path>
            </a:pathLst>
          </a:custGeom>
          <a:solidFill>
            <a:srgbClr val="FFFFFF"/>
          </a:solidFill>
          <a:ln w="9525" cap="flat">
            <a:noFill/>
            <a:prstDash val="solid"/>
            <a:round/>
          </a:ln>
        </p:spPr>
        <p:txBody>
          <a:bodyPr wrap="square" rtlCol="0" anchor="ctr">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2"/>
        </a:solidFill>
        <a:effectLst/>
      </p:bgPr>
    </p:bg>
    <p:spTree>
      <p:nvGrpSpPr>
        <p:cNvPr id="1" name=""/>
        <p:cNvGrpSpPr/>
        <p:nvPr/>
      </p:nvGrpSpPr>
      <p:grpSpPr>
        <a:xfrm>
          <a:off x="0" y="0"/>
          <a:ext cx="0" cy="0"/>
          <a:chOff x="0" y="0"/>
          <a:chExt cx="0" cy="0"/>
        </a:xfrm>
      </p:grpSpPr>
      <p:sp>
        <p:nvSpPr>
          <p:cNvPr id="57" name="Date Placeholder 1"/>
          <p:cNvSpPr>
            <a:spLocks noGrp="1"/>
          </p:cNvSpPr>
          <p:nvPr userDrawn="1">
            <p:ph type="dt" sz="half" idx="10"/>
          </p:nvPr>
        </p:nvSpPr>
        <p:spPr>
          <a:xfrm>
            <a:off x="7912798" y="6405036"/>
            <a:ext cx="103320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9"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grpSp>
        <p:nvGrpSpPr>
          <p:cNvPr id="52" name="A4Grid"/>
          <p:cNvGrpSpPr/>
          <p:nvPr userDrawn="1"/>
        </p:nvGrpSpPr>
        <p:grpSpPr>
          <a:xfrm>
            <a:off x="0" y="0"/>
            <a:ext cx="9906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dirty="0">
                <a:ln>
                  <a:noFill/>
                </a:ln>
                <a:effectLst/>
                <a:uLnTx/>
                <a:uFillTx/>
                <a:latin typeface="+mn-lt"/>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mn-lt"/>
              </a:endParaRPr>
            </a:p>
          </p:txBody>
        </p:sp>
        <p:sp>
          <p:nvSpPr>
            <p:cNvPr id="58"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59"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nvGrpSpPr>
            <p:cNvPr id="60" name="Gutter space"/>
            <p:cNvGrpSpPr/>
            <p:nvPr userDrawn="1"/>
          </p:nvGrpSpPr>
          <p:grpSpPr>
            <a:xfrm>
              <a:off x="1140950" y="623086"/>
              <a:ext cx="7624100" cy="5532930"/>
              <a:chOff x="1140950" y="623086"/>
              <a:chExt cx="7624100" cy="5532930"/>
            </a:xfrm>
          </p:grpSpPr>
          <p:sp>
            <p:nvSpPr>
              <p:cNvPr id="115"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6"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7"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8"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9"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20"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39"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40"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41"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42"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43"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grpSp>
          <p:nvGrpSpPr>
            <p:cNvPr id="61" name="Baselines/Anchors"/>
            <p:cNvGrpSpPr>
              <a:grpSpLocks noChangeAspect="1"/>
            </p:cNvGrpSpPr>
            <p:nvPr userDrawn="1"/>
          </p:nvGrpSpPr>
          <p:grpSpPr>
            <a:xfrm>
              <a:off x="0" y="623086"/>
              <a:ext cx="9906000" cy="5532931"/>
              <a:chOff x="0" y="623086"/>
              <a:chExt cx="9906000" cy="5532931"/>
            </a:xfrm>
          </p:grpSpPr>
          <p:sp>
            <p:nvSpPr>
              <p:cNvPr id="71"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2"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3"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4"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6"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9"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1"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2"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3"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4"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5"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6"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7"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8"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9"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0"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1"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2"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3"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4"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grpSp>
          <p:nvGrpSpPr>
            <p:cNvPr id="62" name="Five column measure"/>
            <p:cNvGrpSpPr/>
            <p:nvPr userDrawn="1"/>
          </p:nvGrpSpPr>
          <p:grpSpPr>
            <a:xfrm>
              <a:off x="629400" y="5977077"/>
              <a:ext cx="8647200" cy="66674"/>
              <a:chOff x="629400" y="5977077"/>
              <a:chExt cx="8647200" cy="66674"/>
            </a:xfrm>
          </p:grpSpPr>
          <p:sp>
            <p:nvSpPr>
              <p:cNvPr id="65"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6"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7"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8"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0"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sp>
          <p:nvSpPr>
            <p:cNvPr id="63"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mn-lt"/>
              </a:endParaRPr>
            </a:p>
          </p:txBody>
        </p:sp>
        <p:sp>
          <p:nvSpPr>
            <p:cNvPr id="64" name="Footnote example"/>
            <p:cNvSpPr txBox="1">
              <a:spLocks noChangeAspect="1"/>
            </p:cNvSpPr>
            <p:nvPr userDrawn="1"/>
          </p:nvSpPr>
          <p:spPr>
            <a:xfrm>
              <a:off x="629398" y="6145200"/>
              <a:ext cx="7283401" cy="415498"/>
            </a:xfrm>
            <a:prstGeom prst="rect">
              <a:avLst/>
            </a:prstGeom>
            <a:noFill/>
          </p:spPr>
          <p:txBody>
            <a:bodyPr wrap="square" lIns="0" tIns="0" rIns="0" bIns="0" rtlCol="0" anchor="b">
              <a:spAutoFit/>
            </a:bodyPr>
            <a:lstStyle/>
            <a:p>
              <a:pPr>
                <a:lnSpc>
                  <a:spcPct val="90000"/>
                </a:lnSpc>
              </a:pPr>
              <a:r>
                <a:rPr lang="en-US" sz="1000" dirty="0">
                  <a:solidFill>
                    <a:srgbClr val="A6A6A6"/>
                  </a:solidFill>
                  <a:latin typeface="+mn-lt"/>
                </a:rPr>
                <a:t>1. xxxx  2. xxxx  3. List footnotes in numerical order. Footnote numbers are not bracketed. Use 10pt font</a:t>
              </a:r>
            </a:p>
            <a:p>
              <a:pPr>
                <a:lnSpc>
                  <a:spcPct val="90000"/>
                </a:lnSpc>
              </a:pPr>
              <a:r>
                <a:rPr lang="en-US" sz="1000" dirty="0">
                  <a:solidFill>
                    <a:srgbClr val="A6A6A6"/>
                  </a:solidFill>
                  <a:latin typeface="+mn-lt"/>
                </a:rPr>
                <a:t>Note: Do not put a period at the end of the note or the source</a:t>
              </a:r>
            </a:p>
            <a:p>
              <a:pPr>
                <a:lnSpc>
                  <a:spcPct val="90000"/>
                </a:lnSpc>
              </a:pPr>
              <a:r>
                <a:rPr lang="en-US" sz="1000" dirty="0">
                  <a:solidFill>
                    <a:srgbClr val="A6A6A6"/>
                  </a:solidFill>
                  <a:latin typeface="+mn-lt"/>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801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56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15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3000"/>
              </a:lnSpc>
              <a:spcBef>
                <a:spcPct val="0"/>
              </a:spcBef>
              <a:spcAft>
                <a:spcPct val="0"/>
              </a:spcAft>
            </a:pPr>
            <a:endParaRPr lang="en-US" sz="4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71" name="PanelWhite"/>
          <p:cNvSpPr/>
          <p:nvPr userDrawn="1"/>
        </p:nvSpPr>
        <p:spPr>
          <a:xfrm>
            <a:off x="0" y="5279183"/>
            <a:ext cx="9906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72" name="Shadow"/>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6186713" y="1973272"/>
            <a:ext cx="580573" cy="6858000"/>
          </a:xfrm>
          <a:prstGeom prst="rect">
            <a:avLst/>
          </a:prstGeom>
        </p:spPr>
      </p:pic>
      <p:pic>
        <p:nvPicPr>
          <p:cNvPr id="14"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l="9375" r="9375" b="23056"/>
          <a:stretch/>
        </p:blipFill>
        <p:spPr>
          <a:xfrm flipH="1">
            <a:off x="0" y="0"/>
            <a:ext cx="9906000" cy="5276850"/>
          </a:xfrm>
          <a:prstGeom prst="rect">
            <a:avLst/>
          </a:prstGeom>
        </p:spPr>
      </p:pic>
      <p:sp>
        <p:nvSpPr>
          <p:cNvPr id="20" name="Logo Placeholder"/>
          <p:cNvSpPr>
            <a:spLocks noGrp="1"/>
          </p:cNvSpPr>
          <p:nvPr>
            <p:ph type="pic" sz="quarter" idx="13" hasCustomPrompt="1"/>
          </p:nvPr>
        </p:nvSpPr>
        <p:spPr>
          <a:xfrm>
            <a:off x="7545600" y="5570643"/>
            <a:ext cx="1476000"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PanelGreen"/>
          <p:cNvSpPr/>
          <p:nvPr userDrawn="1"/>
        </p:nvSpPr>
        <p:spPr bwMode="black">
          <a:xfrm>
            <a:off x="630000" y="622800"/>
            <a:ext cx="6426000" cy="5533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023841" y="6207842"/>
            <a:ext cx="5432400" cy="327148"/>
          </a:xfrm>
          <a:prstGeom prst="rect">
            <a:avLst/>
          </a:prstGeom>
          <a:noFill/>
        </p:spPr>
        <p:txBody>
          <a:bodyPr anchor="ctr"/>
          <a:lstStyle>
            <a:lvl1pPr algn="l">
              <a:lnSpc>
                <a:spcPct val="110000"/>
              </a:lnSpc>
              <a:buNone/>
              <a:defRPr sz="10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023841" y="5495707"/>
            <a:ext cx="5432400" cy="436195"/>
          </a:xfrm>
          <a:prstGeom prst="rect">
            <a:avLst/>
          </a:prstGeom>
        </p:spPr>
        <p:txBody>
          <a:bodyPr anchor="ctr"/>
          <a:lstStyle>
            <a:lvl1pPr marL="0" indent="0" algn="l">
              <a:lnSpc>
                <a:spcPct val="110000"/>
              </a:lnSpc>
              <a:buNone/>
              <a:defRPr sz="14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023841" y="1886243"/>
            <a:ext cx="5432400" cy="3138423"/>
          </a:xfrm>
        </p:spPr>
        <p:txBody>
          <a:bodyPr anchor="b">
            <a:normAutofit/>
          </a:bodyPr>
          <a:lstStyle>
            <a:lvl1pPr algn="l">
              <a:lnSpc>
                <a:spcPct val="93000"/>
              </a:lnSpc>
              <a:defRPr sz="4400">
                <a:solidFill>
                  <a:schemeClr val="bg1"/>
                </a:solidFill>
                <a:latin typeface="+mj-lt"/>
                <a:sym typeface="Trebuchet MS" panose="020B0603020202020204" pitchFamily="34" charset="0"/>
              </a:defRPr>
            </a:lvl1pPr>
          </a:lstStyle>
          <a:p>
            <a:r>
              <a:rPr lang="en-US" dirty="0"/>
              <a:t>Title in Title Case</a:t>
            </a:r>
          </a:p>
        </p:txBody>
      </p:sp>
      <p:sp>
        <p:nvSpPr>
          <p:cNvPr id="13" name="Freeform 12">
            <a:extLst>
              <a:ext uri="{FF2B5EF4-FFF2-40B4-BE49-F238E27FC236}">
                <a16:creationId xmlns:a16="http://schemas.microsoft.com/office/drawing/2014/main" xmlns="" id="{B12DC091-DC3C-4E05-827B-1C699903C407}"/>
              </a:ext>
            </a:extLst>
          </p:cNvPr>
          <p:cNvSpPr>
            <a:spLocks noChangeAspect="1"/>
          </p:cNvSpPr>
          <p:nvPr userDrawn="1">
            <p:custDataLst>
              <p:tags r:id="rId5"/>
            </p:custDataLst>
          </p:nvPr>
        </p:nvSpPr>
        <p:spPr>
          <a:xfrm>
            <a:off x="1023841" y="1016644"/>
            <a:ext cx="1883957" cy="393843"/>
          </a:xfrm>
          <a:custGeom>
            <a:avLst/>
            <a:gdLst>
              <a:gd name="connsiteX0" fmla="*/ 3149701 w 4032385"/>
              <a:gd name="connsiteY0" fmla="*/ 673171 h 842974"/>
              <a:gd name="connsiteX1" fmla="*/ 3149701 w 4032385"/>
              <a:gd name="connsiteY1" fmla="*/ 738035 h 842974"/>
              <a:gd name="connsiteX2" fmla="*/ 3190456 w 4032385"/>
              <a:gd name="connsiteY2" fmla="*/ 738035 h 842974"/>
              <a:gd name="connsiteX3" fmla="*/ 3213869 w 4032385"/>
              <a:gd name="connsiteY3" fmla="*/ 729354 h 842974"/>
              <a:gd name="connsiteX4" fmla="*/ 3213869 w 4032385"/>
              <a:gd name="connsiteY4" fmla="*/ 682023 h 842974"/>
              <a:gd name="connsiteX5" fmla="*/ 3190456 w 4032385"/>
              <a:gd name="connsiteY5" fmla="*/ 673171 h 842974"/>
              <a:gd name="connsiteX6" fmla="*/ 2552665 w 4032385"/>
              <a:gd name="connsiteY6" fmla="*/ 673171 h 842974"/>
              <a:gd name="connsiteX7" fmla="*/ 2552665 w 4032385"/>
              <a:gd name="connsiteY7" fmla="*/ 735465 h 842974"/>
              <a:gd name="connsiteX8" fmla="*/ 2596244 w 4032385"/>
              <a:gd name="connsiteY8" fmla="*/ 735465 h 842974"/>
              <a:gd name="connsiteX9" fmla="*/ 2618835 w 4032385"/>
              <a:gd name="connsiteY9" fmla="*/ 727161 h 842974"/>
              <a:gd name="connsiteX10" fmla="*/ 2627771 w 4032385"/>
              <a:gd name="connsiteY10" fmla="*/ 704444 h 842974"/>
              <a:gd name="connsiteX11" fmla="*/ 2618835 w 4032385"/>
              <a:gd name="connsiteY11" fmla="*/ 681706 h 842974"/>
              <a:gd name="connsiteX12" fmla="*/ 2596244 w 4032385"/>
              <a:gd name="connsiteY12" fmla="*/ 673171 h 842974"/>
              <a:gd name="connsiteX13" fmla="*/ 2785970 w 4032385"/>
              <a:gd name="connsiteY13" fmla="*/ 669841 h 842974"/>
              <a:gd name="connsiteX14" fmla="*/ 2739924 w 4032385"/>
              <a:gd name="connsiteY14" fmla="*/ 689229 h 842974"/>
              <a:gd name="connsiteX15" fmla="*/ 2739924 w 4032385"/>
              <a:gd name="connsiteY15" fmla="*/ 783745 h 842974"/>
              <a:gd name="connsiteX16" fmla="*/ 2785906 w 4032385"/>
              <a:gd name="connsiteY16" fmla="*/ 803132 h 842974"/>
              <a:gd name="connsiteX17" fmla="*/ 2832099 w 4032385"/>
              <a:gd name="connsiteY17" fmla="*/ 783829 h 842974"/>
              <a:gd name="connsiteX18" fmla="*/ 2832015 w 4032385"/>
              <a:gd name="connsiteY18" fmla="*/ 689229 h 842974"/>
              <a:gd name="connsiteX19" fmla="*/ 2785970 w 4032385"/>
              <a:gd name="connsiteY19" fmla="*/ 669841 h 842974"/>
              <a:gd name="connsiteX20" fmla="*/ 3120744 w 4032385"/>
              <a:gd name="connsiteY20" fmla="*/ 646767 h 842974"/>
              <a:gd name="connsiteX21" fmla="*/ 3190456 w 4032385"/>
              <a:gd name="connsiteY21" fmla="*/ 646767 h 842974"/>
              <a:gd name="connsiteX22" fmla="*/ 3235953 w 4032385"/>
              <a:gd name="connsiteY22" fmla="*/ 663688 h 842974"/>
              <a:gd name="connsiteX23" fmla="*/ 3235953 w 4032385"/>
              <a:gd name="connsiteY23" fmla="*/ 746739 h 842974"/>
              <a:gd name="connsiteX24" fmla="*/ 3190456 w 4032385"/>
              <a:gd name="connsiteY24" fmla="*/ 763662 h 842974"/>
              <a:gd name="connsiteX25" fmla="*/ 3149701 w 4032385"/>
              <a:gd name="connsiteY25" fmla="*/ 763662 h 842974"/>
              <a:gd name="connsiteX26" fmla="*/ 3149701 w 4032385"/>
              <a:gd name="connsiteY26" fmla="*/ 826186 h 842974"/>
              <a:gd name="connsiteX27" fmla="*/ 3120744 w 4032385"/>
              <a:gd name="connsiteY27" fmla="*/ 826186 h 842974"/>
              <a:gd name="connsiteX28" fmla="*/ 2919303 w 4032385"/>
              <a:gd name="connsiteY28" fmla="*/ 646767 h 842974"/>
              <a:gd name="connsiteX29" fmla="*/ 2948257 w 4032385"/>
              <a:gd name="connsiteY29" fmla="*/ 646767 h 842974"/>
              <a:gd name="connsiteX30" fmla="*/ 2948257 w 4032385"/>
              <a:gd name="connsiteY30" fmla="*/ 756728 h 842974"/>
              <a:gd name="connsiteX31" fmla="*/ 2960691 w 4032385"/>
              <a:gd name="connsiteY31" fmla="*/ 789855 h 842974"/>
              <a:gd name="connsiteX32" fmla="*/ 3026757 w 4032385"/>
              <a:gd name="connsiteY32" fmla="*/ 789855 h 842974"/>
              <a:gd name="connsiteX33" fmla="*/ 3039233 w 4032385"/>
              <a:gd name="connsiteY33" fmla="*/ 756728 h 842974"/>
              <a:gd name="connsiteX34" fmla="*/ 3039233 w 4032385"/>
              <a:gd name="connsiteY34" fmla="*/ 646767 h 842974"/>
              <a:gd name="connsiteX35" fmla="*/ 3067681 w 4032385"/>
              <a:gd name="connsiteY35" fmla="*/ 646767 h 842974"/>
              <a:gd name="connsiteX36" fmla="*/ 3067681 w 4032385"/>
              <a:gd name="connsiteY36" fmla="*/ 757003 h 842974"/>
              <a:gd name="connsiteX37" fmla="*/ 3046607 w 4032385"/>
              <a:gd name="connsiteY37" fmla="*/ 809285 h 842974"/>
              <a:gd name="connsiteX38" fmla="*/ 2940503 w 4032385"/>
              <a:gd name="connsiteY38" fmla="*/ 809285 h 842974"/>
              <a:gd name="connsiteX39" fmla="*/ 2919303 w 4032385"/>
              <a:gd name="connsiteY39" fmla="*/ 757003 h 842974"/>
              <a:gd name="connsiteX40" fmla="*/ 2523708 w 4032385"/>
              <a:gd name="connsiteY40" fmla="*/ 646767 h 842974"/>
              <a:gd name="connsiteX41" fmla="*/ 2596244 w 4032385"/>
              <a:gd name="connsiteY41" fmla="*/ 646767 h 842974"/>
              <a:gd name="connsiteX42" fmla="*/ 2640900 w 4032385"/>
              <a:gd name="connsiteY42" fmla="*/ 663414 h 842974"/>
              <a:gd name="connsiteX43" fmla="*/ 2646926 w 4032385"/>
              <a:gd name="connsiteY43" fmla="*/ 738816 h 842974"/>
              <a:gd name="connsiteX44" fmla="*/ 2617529 w 4032385"/>
              <a:gd name="connsiteY44" fmla="*/ 758014 h 842974"/>
              <a:gd name="connsiteX45" fmla="*/ 2638919 w 4032385"/>
              <a:gd name="connsiteY45" fmla="*/ 792090 h 842974"/>
              <a:gd name="connsiteX46" fmla="*/ 2660329 w 4032385"/>
              <a:gd name="connsiteY46" fmla="*/ 826186 h 842974"/>
              <a:gd name="connsiteX47" fmla="*/ 2626738 w 4032385"/>
              <a:gd name="connsiteY47" fmla="*/ 826186 h 842974"/>
              <a:gd name="connsiteX48" fmla="*/ 2606888 w 4032385"/>
              <a:gd name="connsiteY48" fmla="*/ 793776 h 842974"/>
              <a:gd name="connsiteX49" fmla="*/ 2587015 w 4032385"/>
              <a:gd name="connsiteY49" fmla="*/ 761344 h 842974"/>
              <a:gd name="connsiteX50" fmla="*/ 2552665 w 4032385"/>
              <a:gd name="connsiteY50" fmla="*/ 761344 h 842974"/>
              <a:gd name="connsiteX51" fmla="*/ 2552665 w 4032385"/>
              <a:gd name="connsiteY51" fmla="*/ 826186 h 842974"/>
              <a:gd name="connsiteX52" fmla="*/ 2523708 w 4032385"/>
              <a:gd name="connsiteY52" fmla="*/ 826186 h 842974"/>
              <a:gd name="connsiteX53" fmla="*/ 2785971 w 4032385"/>
              <a:gd name="connsiteY53" fmla="*/ 643110 h 842974"/>
              <a:gd name="connsiteX54" fmla="*/ 2852899 w 4032385"/>
              <a:gd name="connsiteY54" fmla="*/ 670390 h 842974"/>
              <a:gd name="connsiteX55" fmla="*/ 2880486 w 4032385"/>
              <a:gd name="connsiteY55" fmla="*/ 736498 h 842974"/>
              <a:gd name="connsiteX56" fmla="*/ 2852899 w 4032385"/>
              <a:gd name="connsiteY56" fmla="*/ 802584 h 842974"/>
              <a:gd name="connsiteX57" fmla="*/ 2785906 w 4032385"/>
              <a:gd name="connsiteY57" fmla="*/ 830042 h 842974"/>
              <a:gd name="connsiteX58" fmla="*/ 2719041 w 4032385"/>
              <a:gd name="connsiteY58" fmla="*/ 802584 h 842974"/>
              <a:gd name="connsiteX59" fmla="*/ 2691582 w 4032385"/>
              <a:gd name="connsiteY59" fmla="*/ 736498 h 842974"/>
              <a:gd name="connsiteX60" fmla="*/ 2719041 w 4032385"/>
              <a:gd name="connsiteY60" fmla="*/ 670390 h 842974"/>
              <a:gd name="connsiteX61" fmla="*/ 2785971 w 4032385"/>
              <a:gd name="connsiteY61" fmla="*/ 643110 h 842974"/>
              <a:gd name="connsiteX62" fmla="*/ 2396594 w 4032385"/>
              <a:gd name="connsiteY62" fmla="*/ 642931 h 842974"/>
              <a:gd name="connsiteX63" fmla="*/ 2426982 w 4032385"/>
              <a:gd name="connsiteY63" fmla="*/ 647040 h 842974"/>
              <a:gd name="connsiteX64" fmla="*/ 2452965 w 4032385"/>
              <a:gd name="connsiteY64" fmla="*/ 659600 h 842974"/>
              <a:gd name="connsiteX65" fmla="*/ 2445401 w 4032385"/>
              <a:gd name="connsiteY65" fmla="*/ 671381 h 842974"/>
              <a:gd name="connsiteX66" fmla="*/ 2437856 w 4032385"/>
              <a:gd name="connsiteY66" fmla="*/ 683160 h 842974"/>
              <a:gd name="connsiteX67" fmla="*/ 2418531 w 4032385"/>
              <a:gd name="connsiteY67" fmla="*/ 673045 h 842974"/>
              <a:gd name="connsiteX68" fmla="*/ 2396320 w 4032385"/>
              <a:gd name="connsiteY68" fmla="*/ 669863 h 842974"/>
              <a:gd name="connsiteX69" fmla="*/ 2350611 w 4032385"/>
              <a:gd name="connsiteY69" fmla="*/ 689041 h 842974"/>
              <a:gd name="connsiteX70" fmla="*/ 2332002 w 4032385"/>
              <a:gd name="connsiteY70" fmla="*/ 736498 h 842974"/>
              <a:gd name="connsiteX71" fmla="*/ 2350106 w 4032385"/>
              <a:gd name="connsiteY71" fmla="*/ 784061 h 842974"/>
              <a:gd name="connsiteX72" fmla="*/ 2395309 w 4032385"/>
              <a:gd name="connsiteY72" fmla="*/ 803384 h 842974"/>
              <a:gd name="connsiteX73" fmla="*/ 2435454 w 4032385"/>
              <a:gd name="connsiteY73" fmla="*/ 789161 h 842974"/>
              <a:gd name="connsiteX74" fmla="*/ 2454251 w 4032385"/>
              <a:gd name="connsiteY74" fmla="*/ 753399 h 842974"/>
              <a:gd name="connsiteX75" fmla="*/ 2393265 w 4032385"/>
              <a:gd name="connsiteY75" fmla="*/ 753399 h 842974"/>
              <a:gd name="connsiteX76" fmla="*/ 2401588 w 4032385"/>
              <a:gd name="connsiteY76" fmla="*/ 740332 h 842974"/>
              <a:gd name="connsiteX77" fmla="*/ 2409911 w 4032385"/>
              <a:gd name="connsiteY77" fmla="*/ 727267 h 842974"/>
              <a:gd name="connsiteX78" fmla="*/ 2481690 w 4032385"/>
              <a:gd name="connsiteY78" fmla="*/ 727267 h 842974"/>
              <a:gd name="connsiteX79" fmla="*/ 2482617 w 4032385"/>
              <a:gd name="connsiteY79" fmla="*/ 733000 h 842974"/>
              <a:gd name="connsiteX80" fmla="*/ 2482953 w 4032385"/>
              <a:gd name="connsiteY80" fmla="*/ 740080 h 842974"/>
              <a:gd name="connsiteX81" fmla="*/ 2458507 w 4032385"/>
              <a:gd name="connsiteY81" fmla="*/ 804185 h 842974"/>
              <a:gd name="connsiteX82" fmla="*/ 2395054 w 4032385"/>
              <a:gd name="connsiteY82" fmla="*/ 830042 h 842974"/>
              <a:gd name="connsiteX83" fmla="*/ 2329263 w 4032385"/>
              <a:gd name="connsiteY83" fmla="*/ 802774 h 842974"/>
              <a:gd name="connsiteX84" fmla="*/ 2329938 w 4032385"/>
              <a:gd name="connsiteY84" fmla="*/ 670199 h 842974"/>
              <a:gd name="connsiteX85" fmla="*/ 2396594 w 4032385"/>
              <a:gd name="connsiteY85" fmla="*/ 642931 h 842974"/>
              <a:gd name="connsiteX86" fmla="*/ 175520 w 4032385"/>
              <a:gd name="connsiteY86" fmla="*/ 491918 h 842974"/>
              <a:gd name="connsiteX87" fmla="*/ 175520 w 4032385"/>
              <a:gd name="connsiteY87" fmla="*/ 675531 h 842974"/>
              <a:gd name="connsiteX88" fmla="*/ 414560 w 4032385"/>
              <a:gd name="connsiteY88" fmla="*/ 675531 h 842974"/>
              <a:gd name="connsiteX89" fmla="*/ 482396 w 4032385"/>
              <a:gd name="connsiteY89" fmla="*/ 648832 h 842974"/>
              <a:gd name="connsiteX90" fmla="*/ 510401 w 4032385"/>
              <a:gd name="connsiteY90" fmla="*/ 583146 h 842974"/>
              <a:gd name="connsiteX91" fmla="*/ 482396 w 4032385"/>
              <a:gd name="connsiteY91" fmla="*/ 518049 h 842974"/>
              <a:gd name="connsiteX92" fmla="*/ 414560 w 4032385"/>
              <a:gd name="connsiteY92" fmla="*/ 491918 h 842974"/>
              <a:gd name="connsiteX93" fmla="*/ 2577194 w 4032385"/>
              <a:gd name="connsiteY93" fmla="*/ 355151 h 842974"/>
              <a:gd name="connsiteX94" fmla="*/ 2531149 w 4032385"/>
              <a:gd name="connsiteY94" fmla="*/ 374539 h 842974"/>
              <a:gd name="connsiteX95" fmla="*/ 2531149 w 4032385"/>
              <a:gd name="connsiteY95" fmla="*/ 469052 h 842974"/>
              <a:gd name="connsiteX96" fmla="*/ 2577130 w 4032385"/>
              <a:gd name="connsiteY96" fmla="*/ 488420 h 842974"/>
              <a:gd name="connsiteX97" fmla="*/ 2623324 w 4032385"/>
              <a:gd name="connsiteY97" fmla="*/ 469137 h 842974"/>
              <a:gd name="connsiteX98" fmla="*/ 2623218 w 4032385"/>
              <a:gd name="connsiteY98" fmla="*/ 374539 h 842974"/>
              <a:gd name="connsiteX99" fmla="*/ 2577194 w 4032385"/>
              <a:gd name="connsiteY99" fmla="*/ 355151 h 842974"/>
              <a:gd name="connsiteX100" fmla="*/ 3664168 w 4032385"/>
              <a:gd name="connsiteY100" fmla="*/ 332095 h 842974"/>
              <a:gd name="connsiteX101" fmla="*/ 3699804 w 4032385"/>
              <a:gd name="connsiteY101" fmla="*/ 332095 h 842974"/>
              <a:gd name="connsiteX102" fmla="*/ 3741699 w 4032385"/>
              <a:gd name="connsiteY102" fmla="*/ 399889 h 842974"/>
              <a:gd name="connsiteX103" fmla="*/ 3783614 w 4032385"/>
              <a:gd name="connsiteY103" fmla="*/ 467683 h 842974"/>
              <a:gd name="connsiteX104" fmla="*/ 3783614 w 4032385"/>
              <a:gd name="connsiteY104" fmla="*/ 332095 h 842974"/>
              <a:gd name="connsiteX105" fmla="*/ 3811283 w 4032385"/>
              <a:gd name="connsiteY105" fmla="*/ 332095 h 842974"/>
              <a:gd name="connsiteX106" fmla="*/ 3811283 w 4032385"/>
              <a:gd name="connsiteY106" fmla="*/ 511496 h 842974"/>
              <a:gd name="connsiteX107" fmla="*/ 3777713 w 4032385"/>
              <a:gd name="connsiteY107" fmla="*/ 511496 h 842974"/>
              <a:gd name="connsiteX108" fmla="*/ 3734788 w 4032385"/>
              <a:gd name="connsiteY108" fmla="*/ 442036 h 842974"/>
              <a:gd name="connsiteX109" fmla="*/ 3691839 w 4032385"/>
              <a:gd name="connsiteY109" fmla="*/ 372599 h 842974"/>
              <a:gd name="connsiteX110" fmla="*/ 3691839 w 4032385"/>
              <a:gd name="connsiteY110" fmla="*/ 511496 h 842974"/>
              <a:gd name="connsiteX111" fmla="*/ 3664168 w 4032385"/>
              <a:gd name="connsiteY111" fmla="*/ 511496 h 842974"/>
              <a:gd name="connsiteX112" fmla="*/ 3571276 w 4032385"/>
              <a:gd name="connsiteY112" fmla="*/ 332095 h 842974"/>
              <a:gd name="connsiteX113" fmla="*/ 3600233 w 4032385"/>
              <a:gd name="connsiteY113" fmla="*/ 332095 h 842974"/>
              <a:gd name="connsiteX114" fmla="*/ 3600233 w 4032385"/>
              <a:gd name="connsiteY114" fmla="*/ 511496 h 842974"/>
              <a:gd name="connsiteX115" fmla="*/ 3571276 w 4032385"/>
              <a:gd name="connsiteY115" fmla="*/ 511496 h 842974"/>
              <a:gd name="connsiteX116" fmla="*/ 3385977 w 4032385"/>
              <a:gd name="connsiteY116" fmla="*/ 332095 h 842974"/>
              <a:gd name="connsiteX117" fmla="*/ 3527698 w 4032385"/>
              <a:gd name="connsiteY117" fmla="*/ 332095 h 842974"/>
              <a:gd name="connsiteX118" fmla="*/ 3527698 w 4032385"/>
              <a:gd name="connsiteY118" fmla="*/ 358733 h 842974"/>
              <a:gd name="connsiteX119" fmla="*/ 3471325 w 4032385"/>
              <a:gd name="connsiteY119" fmla="*/ 358733 h 842974"/>
              <a:gd name="connsiteX120" fmla="*/ 3471325 w 4032385"/>
              <a:gd name="connsiteY120" fmla="*/ 511496 h 842974"/>
              <a:gd name="connsiteX121" fmla="*/ 3442096 w 4032385"/>
              <a:gd name="connsiteY121" fmla="*/ 511496 h 842974"/>
              <a:gd name="connsiteX122" fmla="*/ 3442096 w 4032385"/>
              <a:gd name="connsiteY122" fmla="*/ 358733 h 842974"/>
              <a:gd name="connsiteX123" fmla="*/ 3385977 w 4032385"/>
              <a:gd name="connsiteY123" fmla="*/ 358733 h 842974"/>
              <a:gd name="connsiteX124" fmla="*/ 3273572 w 4032385"/>
              <a:gd name="connsiteY124" fmla="*/ 332095 h 842974"/>
              <a:gd name="connsiteX125" fmla="*/ 3302526 w 4032385"/>
              <a:gd name="connsiteY125" fmla="*/ 332095 h 842974"/>
              <a:gd name="connsiteX126" fmla="*/ 3302526 w 4032385"/>
              <a:gd name="connsiteY126" fmla="*/ 484836 h 842974"/>
              <a:gd name="connsiteX127" fmla="*/ 3390951 w 4032385"/>
              <a:gd name="connsiteY127" fmla="*/ 484836 h 842974"/>
              <a:gd name="connsiteX128" fmla="*/ 3390951 w 4032385"/>
              <a:gd name="connsiteY128" fmla="*/ 511496 h 842974"/>
              <a:gd name="connsiteX129" fmla="*/ 3273572 w 4032385"/>
              <a:gd name="connsiteY129" fmla="*/ 511496 h 842974"/>
              <a:gd name="connsiteX130" fmla="*/ 3073730 w 4032385"/>
              <a:gd name="connsiteY130" fmla="*/ 332095 h 842974"/>
              <a:gd name="connsiteX131" fmla="*/ 3102684 w 4032385"/>
              <a:gd name="connsiteY131" fmla="*/ 332095 h 842974"/>
              <a:gd name="connsiteX132" fmla="*/ 3102684 w 4032385"/>
              <a:gd name="connsiteY132" fmla="*/ 442036 h 842974"/>
              <a:gd name="connsiteX133" fmla="*/ 3115118 w 4032385"/>
              <a:gd name="connsiteY133" fmla="*/ 475163 h 842974"/>
              <a:gd name="connsiteX134" fmla="*/ 3181184 w 4032385"/>
              <a:gd name="connsiteY134" fmla="*/ 475163 h 842974"/>
              <a:gd name="connsiteX135" fmla="*/ 3193680 w 4032385"/>
              <a:gd name="connsiteY135" fmla="*/ 442036 h 842974"/>
              <a:gd name="connsiteX136" fmla="*/ 3193680 w 4032385"/>
              <a:gd name="connsiteY136" fmla="*/ 332095 h 842974"/>
              <a:gd name="connsiteX137" fmla="*/ 3222130 w 4032385"/>
              <a:gd name="connsiteY137" fmla="*/ 332095 h 842974"/>
              <a:gd name="connsiteX138" fmla="*/ 3222130 w 4032385"/>
              <a:gd name="connsiteY138" fmla="*/ 442288 h 842974"/>
              <a:gd name="connsiteX139" fmla="*/ 3201056 w 4032385"/>
              <a:gd name="connsiteY139" fmla="*/ 494573 h 842974"/>
              <a:gd name="connsiteX140" fmla="*/ 3094930 w 4032385"/>
              <a:gd name="connsiteY140" fmla="*/ 494573 h 842974"/>
              <a:gd name="connsiteX141" fmla="*/ 3073730 w 4032385"/>
              <a:gd name="connsiteY141" fmla="*/ 442288 h 842974"/>
              <a:gd name="connsiteX142" fmla="*/ 2712886 w 4032385"/>
              <a:gd name="connsiteY142" fmla="*/ 332095 h 842974"/>
              <a:gd name="connsiteX143" fmla="*/ 2748522 w 4032385"/>
              <a:gd name="connsiteY143" fmla="*/ 332095 h 842974"/>
              <a:gd name="connsiteX144" fmla="*/ 2832332 w 4032385"/>
              <a:gd name="connsiteY144" fmla="*/ 467663 h 842974"/>
              <a:gd name="connsiteX145" fmla="*/ 2832332 w 4032385"/>
              <a:gd name="connsiteY145" fmla="*/ 332095 h 842974"/>
              <a:gd name="connsiteX146" fmla="*/ 2860023 w 4032385"/>
              <a:gd name="connsiteY146" fmla="*/ 332095 h 842974"/>
              <a:gd name="connsiteX147" fmla="*/ 2860023 w 4032385"/>
              <a:gd name="connsiteY147" fmla="*/ 511496 h 842974"/>
              <a:gd name="connsiteX148" fmla="*/ 2826431 w 4032385"/>
              <a:gd name="connsiteY148" fmla="*/ 511496 h 842974"/>
              <a:gd name="connsiteX149" fmla="*/ 2740577 w 4032385"/>
              <a:gd name="connsiteY149" fmla="*/ 372579 h 842974"/>
              <a:gd name="connsiteX150" fmla="*/ 2740577 w 4032385"/>
              <a:gd name="connsiteY150" fmla="*/ 511496 h 842974"/>
              <a:gd name="connsiteX151" fmla="*/ 2712886 w 4032385"/>
              <a:gd name="connsiteY151" fmla="*/ 511496 h 842974"/>
              <a:gd name="connsiteX152" fmla="*/ 2577187 w 4032385"/>
              <a:gd name="connsiteY152" fmla="*/ 328418 h 842974"/>
              <a:gd name="connsiteX153" fmla="*/ 2644123 w 4032385"/>
              <a:gd name="connsiteY153" fmla="*/ 355698 h 842974"/>
              <a:gd name="connsiteX154" fmla="*/ 2671710 w 4032385"/>
              <a:gd name="connsiteY154" fmla="*/ 421786 h 842974"/>
              <a:gd name="connsiteX155" fmla="*/ 2644123 w 4032385"/>
              <a:gd name="connsiteY155" fmla="*/ 487872 h 842974"/>
              <a:gd name="connsiteX156" fmla="*/ 2577130 w 4032385"/>
              <a:gd name="connsiteY156" fmla="*/ 515330 h 842974"/>
              <a:gd name="connsiteX157" fmla="*/ 2510263 w 4032385"/>
              <a:gd name="connsiteY157" fmla="*/ 487872 h 842974"/>
              <a:gd name="connsiteX158" fmla="*/ 2482805 w 4032385"/>
              <a:gd name="connsiteY158" fmla="*/ 421786 h 842974"/>
              <a:gd name="connsiteX159" fmla="*/ 2510263 w 4032385"/>
              <a:gd name="connsiteY159" fmla="*/ 355698 h 842974"/>
              <a:gd name="connsiteX160" fmla="*/ 2577187 w 4032385"/>
              <a:gd name="connsiteY160" fmla="*/ 328418 h 842974"/>
              <a:gd name="connsiteX161" fmla="*/ 3945986 w 4032385"/>
              <a:gd name="connsiteY161" fmla="*/ 328239 h 842974"/>
              <a:gd name="connsiteX162" fmla="*/ 3976396 w 4032385"/>
              <a:gd name="connsiteY162" fmla="*/ 332347 h 842974"/>
              <a:gd name="connsiteX163" fmla="*/ 4002359 w 4032385"/>
              <a:gd name="connsiteY163" fmla="*/ 344908 h 842974"/>
              <a:gd name="connsiteX164" fmla="*/ 3994814 w 4032385"/>
              <a:gd name="connsiteY164" fmla="*/ 356689 h 842974"/>
              <a:gd name="connsiteX165" fmla="*/ 3987248 w 4032385"/>
              <a:gd name="connsiteY165" fmla="*/ 368468 h 842974"/>
              <a:gd name="connsiteX166" fmla="*/ 3967944 w 4032385"/>
              <a:gd name="connsiteY166" fmla="*/ 358353 h 842974"/>
              <a:gd name="connsiteX167" fmla="*/ 3945733 w 4032385"/>
              <a:gd name="connsiteY167" fmla="*/ 355171 h 842974"/>
              <a:gd name="connsiteX168" fmla="*/ 3900004 w 4032385"/>
              <a:gd name="connsiteY168" fmla="*/ 374349 h 842974"/>
              <a:gd name="connsiteX169" fmla="*/ 3881395 w 4032385"/>
              <a:gd name="connsiteY169" fmla="*/ 421806 h 842974"/>
              <a:gd name="connsiteX170" fmla="*/ 3899498 w 4032385"/>
              <a:gd name="connsiteY170" fmla="*/ 469369 h 842974"/>
              <a:gd name="connsiteX171" fmla="*/ 3944700 w 4032385"/>
              <a:gd name="connsiteY171" fmla="*/ 488692 h 842974"/>
              <a:gd name="connsiteX172" fmla="*/ 3984845 w 4032385"/>
              <a:gd name="connsiteY172" fmla="*/ 474469 h 842974"/>
              <a:gd name="connsiteX173" fmla="*/ 4003664 w 4032385"/>
              <a:gd name="connsiteY173" fmla="*/ 438707 h 842974"/>
              <a:gd name="connsiteX174" fmla="*/ 3942656 w 4032385"/>
              <a:gd name="connsiteY174" fmla="*/ 438707 h 842974"/>
              <a:gd name="connsiteX175" fmla="*/ 3950981 w 4032385"/>
              <a:gd name="connsiteY175" fmla="*/ 425642 h 842974"/>
              <a:gd name="connsiteX176" fmla="*/ 3959327 w 4032385"/>
              <a:gd name="connsiteY176" fmla="*/ 412575 h 842974"/>
              <a:gd name="connsiteX177" fmla="*/ 4031081 w 4032385"/>
              <a:gd name="connsiteY177" fmla="*/ 412575 h 842974"/>
              <a:gd name="connsiteX178" fmla="*/ 4032008 w 4032385"/>
              <a:gd name="connsiteY178" fmla="*/ 418308 h 842974"/>
              <a:gd name="connsiteX179" fmla="*/ 4032366 w 4032385"/>
              <a:gd name="connsiteY179" fmla="*/ 425388 h 842974"/>
              <a:gd name="connsiteX180" fmla="*/ 4007921 w 4032385"/>
              <a:gd name="connsiteY180" fmla="*/ 489493 h 842974"/>
              <a:gd name="connsiteX181" fmla="*/ 3944448 w 4032385"/>
              <a:gd name="connsiteY181" fmla="*/ 515352 h 842974"/>
              <a:gd name="connsiteX182" fmla="*/ 3878676 w 4032385"/>
              <a:gd name="connsiteY182" fmla="*/ 488082 h 842974"/>
              <a:gd name="connsiteX183" fmla="*/ 3879351 w 4032385"/>
              <a:gd name="connsiteY183" fmla="*/ 355507 h 842974"/>
              <a:gd name="connsiteX184" fmla="*/ 3945986 w 4032385"/>
              <a:gd name="connsiteY184" fmla="*/ 328239 h 842974"/>
              <a:gd name="connsiteX185" fmla="*/ 2397605 w 4032385"/>
              <a:gd name="connsiteY185" fmla="*/ 328239 h 842974"/>
              <a:gd name="connsiteX186" fmla="*/ 2457580 w 4032385"/>
              <a:gd name="connsiteY186" fmla="*/ 348217 h 842974"/>
              <a:gd name="connsiteX187" fmla="*/ 2450142 w 4032385"/>
              <a:gd name="connsiteY187" fmla="*/ 359892 h 842974"/>
              <a:gd name="connsiteX188" fmla="*/ 2442724 w 4032385"/>
              <a:gd name="connsiteY188" fmla="*/ 371545 h 842974"/>
              <a:gd name="connsiteX189" fmla="*/ 2421208 w 4032385"/>
              <a:gd name="connsiteY189" fmla="*/ 359176 h 842974"/>
              <a:gd name="connsiteX190" fmla="*/ 2396068 w 4032385"/>
              <a:gd name="connsiteY190" fmla="*/ 354897 h 842974"/>
              <a:gd name="connsiteX191" fmla="*/ 2350675 w 4032385"/>
              <a:gd name="connsiteY191" fmla="*/ 374223 h 842974"/>
              <a:gd name="connsiteX192" fmla="*/ 2350675 w 4032385"/>
              <a:gd name="connsiteY192" fmla="*/ 469369 h 842974"/>
              <a:gd name="connsiteX193" fmla="*/ 2396068 w 4032385"/>
              <a:gd name="connsiteY193" fmla="*/ 488692 h 842974"/>
              <a:gd name="connsiteX194" fmla="*/ 2421208 w 4032385"/>
              <a:gd name="connsiteY194" fmla="*/ 484394 h 842974"/>
              <a:gd name="connsiteX195" fmla="*/ 2442724 w 4032385"/>
              <a:gd name="connsiteY195" fmla="*/ 472024 h 842974"/>
              <a:gd name="connsiteX196" fmla="*/ 2450142 w 4032385"/>
              <a:gd name="connsiteY196" fmla="*/ 483699 h 842974"/>
              <a:gd name="connsiteX197" fmla="*/ 2457580 w 4032385"/>
              <a:gd name="connsiteY197" fmla="*/ 495352 h 842974"/>
              <a:gd name="connsiteX198" fmla="*/ 2397605 w 4032385"/>
              <a:gd name="connsiteY198" fmla="*/ 515330 h 842974"/>
              <a:gd name="connsiteX199" fmla="*/ 2330086 w 4032385"/>
              <a:gd name="connsiteY199" fmla="*/ 488062 h 842974"/>
              <a:gd name="connsiteX200" fmla="*/ 2302521 w 4032385"/>
              <a:gd name="connsiteY200" fmla="*/ 421786 h 842974"/>
              <a:gd name="connsiteX201" fmla="*/ 2330086 w 4032385"/>
              <a:gd name="connsiteY201" fmla="*/ 355507 h 842974"/>
              <a:gd name="connsiteX202" fmla="*/ 2397605 w 4032385"/>
              <a:gd name="connsiteY202" fmla="*/ 328239 h 842974"/>
              <a:gd name="connsiteX203" fmla="*/ 2967329 w 4032385"/>
              <a:gd name="connsiteY203" fmla="*/ 328177 h 842974"/>
              <a:gd name="connsiteX204" fmla="*/ 2967709 w 4032385"/>
              <a:gd name="connsiteY204" fmla="*/ 328177 h 842974"/>
              <a:gd name="connsiteX205" fmla="*/ 2970364 w 4032385"/>
              <a:gd name="connsiteY205" fmla="*/ 328239 h 842974"/>
              <a:gd name="connsiteX206" fmla="*/ 3000226 w 4032385"/>
              <a:gd name="connsiteY206" fmla="*/ 332854 h 842974"/>
              <a:gd name="connsiteX207" fmla="*/ 3024691 w 4032385"/>
              <a:gd name="connsiteY207" fmla="*/ 345162 h 842974"/>
              <a:gd name="connsiteX208" fmla="*/ 3017527 w 4032385"/>
              <a:gd name="connsiteY208" fmla="*/ 356563 h 842974"/>
              <a:gd name="connsiteX209" fmla="*/ 3010341 w 4032385"/>
              <a:gd name="connsiteY209" fmla="*/ 367963 h 842974"/>
              <a:gd name="connsiteX210" fmla="*/ 2990321 w 4032385"/>
              <a:gd name="connsiteY210" fmla="*/ 357910 h 842974"/>
              <a:gd name="connsiteX211" fmla="*/ 2970112 w 4032385"/>
              <a:gd name="connsiteY211" fmla="*/ 354392 h 842974"/>
              <a:gd name="connsiteX212" fmla="*/ 2946720 w 4032385"/>
              <a:gd name="connsiteY212" fmla="*/ 361808 h 842974"/>
              <a:gd name="connsiteX213" fmla="*/ 2939091 w 4032385"/>
              <a:gd name="connsiteY213" fmla="*/ 380017 h 842974"/>
              <a:gd name="connsiteX214" fmla="*/ 2949691 w 4032385"/>
              <a:gd name="connsiteY214" fmla="*/ 397993 h 842974"/>
              <a:gd name="connsiteX215" fmla="*/ 2977802 w 4032385"/>
              <a:gd name="connsiteY215" fmla="*/ 408445 h 842974"/>
              <a:gd name="connsiteX216" fmla="*/ 3015567 w 4032385"/>
              <a:gd name="connsiteY216" fmla="*/ 424987 h 842974"/>
              <a:gd name="connsiteX217" fmla="*/ 3032384 w 4032385"/>
              <a:gd name="connsiteY217" fmla="*/ 460749 h 842974"/>
              <a:gd name="connsiteX218" fmla="*/ 3015819 w 4032385"/>
              <a:gd name="connsiteY218" fmla="*/ 499863 h 842974"/>
              <a:gd name="connsiteX219" fmla="*/ 2969079 w 4032385"/>
              <a:gd name="connsiteY219" fmla="*/ 515330 h 842974"/>
              <a:gd name="connsiteX220" fmla="*/ 2932390 w 4032385"/>
              <a:gd name="connsiteY220" fmla="*/ 509219 h 842974"/>
              <a:gd name="connsiteX221" fmla="*/ 2905520 w 4032385"/>
              <a:gd name="connsiteY221" fmla="*/ 494825 h 842974"/>
              <a:gd name="connsiteX222" fmla="*/ 2919872 w 4032385"/>
              <a:gd name="connsiteY222" fmla="*/ 472024 h 842974"/>
              <a:gd name="connsiteX223" fmla="*/ 2943642 w 4032385"/>
              <a:gd name="connsiteY223" fmla="*/ 484352 h 842974"/>
              <a:gd name="connsiteX224" fmla="*/ 2969353 w 4032385"/>
              <a:gd name="connsiteY224" fmla="*/ 489199 h 842974"/>
              <a:gd name="connsiteX225" fmla="*/ 2994745 w 4032385"/>
              <a:gd name="connsiteY225" fmla="*/ 481528 h 842974"/>
              <a:gd name="connsiteX226" fmla="*/ 3003429 w 4032385"/>
              <a:gd name="connsiteY226" fmla="*/ 462541 h 842974"/>
              <a:gd name="connsiteX227" fmla="*/ 2992723 w 4032385"/>
              <a:gd name="connsiteY227" fmla="*/ 444671 h 842974"/>
              <a:gd name="connsiteX228" fmla="*/ 2964716 w 4032385"/>
              <a:gd name="connsiteY228" fmla="*/ 434091 h 842974"/>
              <a:gd name="connsiteX229" fmla="*/ 2926848 w 4032385"/>
              <a:gd name="connsiteY229" fmla="*/ 417655 h 842974"/>
              <a:gd name="connsiteX230" fmla="*/ 2910135 w 4032385"/>
              <a:gd name="connsiteY230" fmla="*/ 381809 h 842974"/>
              <a:gd name="connsiteX231" fmla="*/ 2926025 w 4032385"/>
              <a:gd name="connsiteY231" fmla="*/ 343306 h 842974"/>
              <a:gd name="connsiteX232" fmla="*/ 2967329 w 4032385"/>
              <a:gd name="connsiteY232" fmla="*/ 328177 h 842974"/>
              <a:gd name="connsiteX233" fmla="*/ 175520 w 4032385"/>
              <a:gd name="connsiteY233" fmla="*/ 167447 h 842974"/>
              <a:gd name="connsiteX234" fmla="*/ 175520 w 4032385"/>
              <a:gd name="connsiteY234" fmla="*/ 344129 h 842974"/>
              <a:gd name="connsiteX235" fmla="*/ 375298 w 4032385"/>
              <a:gd name="connsiteY235" fmla="*/ 344129 h 842974"/>
              <a:gd name="connsiteX236" fmla="*/ 439383 w 4032385"/>
              <a:gd name="connsiteY236" fmla="*/ 318714 h 842974"/>
              <a:gd name="connsiteX237" fmla="*/ 465366 w 4032385"/>
              <a:gd name="connsiteY237" fmla="*/ 255219 h 842974"/>
              <a:gd name="connsiteX238" fmla="*/ 439383 w 4032385"/>
              <a:gd name="connsiteY238" fmla="*/ 192273 h 842974"/>
              <a:gd name="connsiteX239" fmla="*/ 375298 w 4032385"/>
              <a:gd name="connsiteY239" fmla="*/ 167447 h 842974"/>
              <a:gd name="connsiteX240" fmla="*/ 2340453 w 4032385"/>
              <a:gd name="connsiteY240" fmla="*/ 118368 h 842974"/>
              <a:gd name="connsiteX241" fmla="*/ 2340453 w 4032385"/>
              <a:gd name="connsiteY241" fmla="*/ 171157 h 842974"/>
              <a:gd name="connsiteX242" fmla="*/ 2387090 w 4032385"/>
              <a:gd name="connsiteY242" fmla="*/ 171157 h 842974"/>
              <a:gd name="connsiteX243" fmla="*/ 2407130 w 4032385"/>
              <a:gd name="connsiteY243" fmla="*/ 163445 h 842974"/>
              <a:gd name="connsiteX244" fmla="*/ 2415033 w 4032385"/>
              <a:gd name="connsiteY244" fmla="*/ 144710 h 842974"/>
              <a:gd name="connsiteX245" fmla="*/ 2407130 w 4032385"/>
              <a:gd name="connsiteY245" fmla="*/ 125997 h 842974"/>
              <a:gd name="connsiteX246" fmla="*/ 2387784 w 4032385"/>
              <a:gd name="connsiteY246" fmla="*/ 118368 h 842974"/>
              <a:gd name="connsiteX247" fmla="*/ 2387448 w 4032385"/>
              <a:gd name="connsiteY247" fmla="*/ 118368 h 842974"/>
              <a:gd name="connsiteX248" fmla="*/ 2387090 w 4032385"/>
              <a:gd name="connsiteY248" fmla="*/ 118368 h 842974"/>
              <a:gd name="connsiteX249" fmla="*/ 2340453 w 4032385"/>
              <a:gd name="connsiteY249" fmla="*/ 43008 h 842974"/>
              <a:gd name="connsiteX250" fmla="*/ 2340453 w 4032385"/>
              <a:gd name="connsiteY250" fmla="*/ 93248 h 842974"/>
              <a:gd name="connsiteX251" fmla="*/ 2382494 w 4032385"/>
              <a:gd name="connsiteY251" fmla="*/ 93248 h 842974"/>
              <a:gd name="connsiteX252" fmla="*/ 2401103 w 4032385"/>
              <a:gd name="connsiteY252" fmla="*/ 86062 h 842974"/>
              <a:gd name="connsiteX253" fmla="*/ 2401103 w 4032385"/>
              <a:gd name="connsiteY253" fmla="*/ 50194 h 842974"/>
              <a:gd name="connsiteX254" fmla="*/ 2383127 w 4032385"/>
              <a:gd name="connsiteY254" fmla="*/ 43008 h 842974"/>
              <a:gd name="connsiteX255" fmla="*/ 2382811 w 4032385"/>
              <a:gd name="connsiteY255" fmla="*/ 43008 h 842974"/>
              <a:gd name="connsiteX256" fmla="*/ 2382494 w 4032385"/>
              <a:gd name="connsiteY256" fmla="*/ 43008 h 842974"/>
              <a:gd name="connsiteX257" fmla="*/ 3103717 w 4032385"/>
              <a:gd name="connsiteY257" fmla="*/ 40459 h 842974"/>
              <a:gd name="connsiteX258" fmla="*/ 3057672 w 4032385"/>
              <a:gd name="connsiteY258" fmla="*/ 59825 h 842974"/>
              <a:gd name="connsiteX259" fmla="*/ 3057672 w 4032385"/>
              <a:gd name="connsiteY259" fmla="*/ 154340 h 842974"/>
              <a:gd name="connsiteX260" fmla="*/ 3103653 w 4032385"/>
              <a:gd name="connsiteY260" fmla="*/ 173728 h 842974"/>
              <a:gd name="connsiteX261" fmla="*/ 3149847 w 4032385"/>
              <a:gd name="connsiteY261" fmla="*/ 154444 h 842974"/>
              <a:gd name="connsiteX262" fmla="*/ 3149743 w 4032385"/>
              <a:gd name="connsiteY262" fmla="*/ 59825 h 842974"/>
              <a:gd name="connsiteX263" fmla="*/ 3103717 w 4032385"/>
              <a:gd name="connsiteY263" fmla="*/ 40459 h 842974"/>
              <a:gd name="connsiteX264" fmla="*/ 2572073 w 4032385"/>
              <a:gd name="connsiteY264" fmla="*/ 40459 h 842974"/>
              <a:gd name="connsiteX265" fmla="*/ 2526027 w 4032385"/>
              <a:gd name="connsiteY265" fmla="*/ 59825 h 842974"/>
              <a:gd name="connsiteX266" fmla="*/ 2526027 w 4032385"/>
              <a:gd name="connsiteY266" fmla="*/ 154340 h 842974"/>
              <a:gd name="connsiteX267" fmla="*/ 2572011 w 4032385"/>
              <a:gd name="connsiteY267" fmla="*/ 173728 h 842974"/>
              <a:gd name="connsiteX268" fmla="*/ 2618204 w 4032385"/>
              <a:gd name="connsiteY268" fmla="*/ 154444 h 842974"/>
              <a:gd name="connsiteX269" fmla="*/ 2618120 w 4032385"/>
              <a:gd name="connsiteY269" fmla="*/ 59825 h 842974"/>
              <a:gd name="connsiteX270" fmla="*/ 2572073 w 4032385"/>
              <a:gd name="connsiteY270" fmla="*/ 40459 h 842974"/>
              <a:gd name="connsiteX271" fmla="*/ 3239241 w 4032385"/>
              <a:gd name="connsiteY271" fmla="*/ 17383 h 842974"/>
              <a:gd name="connsiteX272" fmla="*/ 3274857 w 4032385"/>
              <a:gd name="connsiteY272" fmla="*/ 17383 h 842974"/>
              <a:gd name="connsiteX273" fmla="*/ 3316772 w 4032385"/>
              <a:gd name="connsiteY273" fmla="*/ 85177 h 842974"/>
              <a:gd name="connsiteX274" fmla="*/ 3358687 w 4032385"/>
              <a:gd name="connsiteY274" fmla="*/ 152971 h 842974"/>
              <a:gd name="connsiteX275" fmla="*/ 3358687 w 4032385"/>
              <a:gd name="connsiteY275" fmla="*/ 17383 h 842974"/>
              <a:gd name="connsiteX276" fmla="*/ 3386356 w 4032385"/>
              <a:gd name="connsiteY276" fmla="*/ 17383 h 842974"/>
              <a:gd name="connsiteX277" fmla="*/ 3386356 w 4032385"/>
              <a:gd name="connsiteY277" fmla="*/ 196804 h 842974"/>
              <a:gd name="connsiteX278" fmla="*/ 3352786 w 4032385"/>
              <a:gd name="connsiteY278" fmla="*/ 196804 h 842974"/>
              <a:gd name="connsiteX279" fmla="*/ 3309838 w 4032385"/>
              <a:gd name="connsiteY279" fmla="*/ 127344 h 842974"/>
              <a:gd name="connsiteX280" fmla="*/ 3266912 w 4032385"/>
              <a:gd name="connsiteY280" fmla="*/ 57887 h 842974"/>
              <a:gd name="connsiteX281" fmla="*/ 3266912 w 4032385"/>
              <a:gd name="connsiteY281" fmla="*/ 196804 h 842974"/>
              <a:gd name="connsiteX282" fmla="*/ 3239241 w 4032385"/>
              <a:gd name="connsiteY282" fmla="*/ 196804 h 842974"/>
              <a:gd name="connsiteX283" fmla="*/ 2849255 w 4032385"/>
              <a:gd name="connsiteY283" fmla="*/ 17383 h 842974"/>
              <a:gd name="connsiteX284" fmla="*/ 2990995 w 4032385"/>
              <a:gd name="connsiteY284" fmla="*/ 17383 h 842974"/>
              <a:gd name="connsiteX285" fmla="*/ 2990995 w 4032385"/>
              <a:gd name="connsiteY285" fmla="*/ 44041 h 842974"/>
              <a:gd name="connsiteX286" fmla="*/ 2934602 w 4032385"/>
              <a:gd name="connsiteY286" fmla="*/ 44041 h 842974"/>
              <a:gd name="connsiteX287" fmla="*/ 2934602 w 4032385"/>
              <a:gd name="connsiteY287" fmla="*/ 196804 h 842974"/>
              <a:gd name="connsiteX288" fmla="*/ 2905393 w 4032385"/>
              <a:gd name="connsiteY288" fmla="*/ 196804 h 842974"/>
              <a:gd name="connsiteX289" fmla="*/ 2905393 w 4032385"/>
              <a:gd name="connsiteY289" fmla="*/ 44041 h 842974"/>
              <a:gd name="connsiteX290" fmla="*/ 2849255 w 4032385"/>
              <a:gd name="connsiteY290" fmla="*/ 44041 h 842974"/>
              <a:gd name="connsiteX291" fmla="*/ 2311499 w 4032385"/>
              <a:gd name="connsiteY291" fmla="*/ 17383 h 842974"/>
              <a:gd name="connsiteX292" fmla="*/ 2382727 w 4032385"/>
              <a:gd name="connsiteY292" fmla="*/ 17383 h 842974"/>
              <a:gd name="connsiteX293" fmla="*/ 2422113 w 4032385"/>
              <a:gd name="connsiteY293" fmla="*/ 30974 h 842974"/>
              <a:gd name="connsiteX294" fmla="*/ 2437856 w 4032385"/>
              <a:gd name="connsiteY294" fmla="*/ 65325 h 842974"/>
              <a:gd name="connsiteX295" fmla="*/ 2432124 w 4032385"/>
              <a:gd name="connsiteY295" fmla="*/ 86356 h 842974"/>
              <a:gd name="connsiteX296" fmla="*/ 2416571 w 4032385"/>
              <a:gd name="connsiteY296" fmla="*/ 101445 h 842974"/>
              <a:gd name="connsiteX297" fmla="*/ 2437202 w 4032385"/>
              <a:gd name="connsiteY297" fmla="*/ 119295 h 842974"/>
              <a:gd name="connsiteX298" fmla="*/ 2444768 w 4032385"/>
              <a:gd name="connsiteY298" fmla="*/ 145026 h 842974"/>
              <a:gd name="connsiteX299" fmla="*/ 2428646 w 4032385"/>
              <a:gd name="connsiteY299" fmla="*/ 181777 h 842974"/>
              <a:gd name="connsiteX300" fmla="*/ 2387364 w 4032385"/>
              <a:gd name="connsiteY300" fmla="*/ 196804 h 842974"/>
              <a:gd name="connsiteX301" fmla="*/ 2311499 w 4032385"/>
              <a:gd name="connsiteY301" fmla="*/ 196804 h 842974"/>
              <a:gd name="connsiteX302" fmla="*/ 3103717 w 4032385"/>
              <a:gd name="connsiteY302" fmla="*/ 13721 h 842974"/>
              <a:gd name="connsiteX303" fmla="*/ 3170646 w 4032385"/>
              <a:gd name="connsiteY303" fmla="*/ 40986 h 842974"/>
              <a:gd name="connsiteX304" fmla="*/ 3198233 w 4032385"/>
              <a:gd name="connsiteY304" fmla="*/ 107094 h 842974"/>
              <a:gd name="connsiteX305" fmla="*/ 3170646 w 4032385"/>
              <a:gd name="connsiteY305" fmla="*/ 173179 h 842974"/>
              <a:gd name="connsiteX306" fmla="*/ 3103653 w 4032385"/>
              <a:gd name="connsiteY306" fmla="*/ 200638 h 842974"/>
              <a:gd name="connsiteX307" fmla="*/ 3036789 w 4032385"/>
              <a:gd name="connsiteY307" fmla="*/ 173179 h 842974"/>
              <a:gd name="connsiteX308" fmla="*/ 3009330 w 4032385"/>
              <a:gd name="connsiteY308" fmla="*/ 107094 h 842974"/>
              <a:gd name="connsiteX309" fmla="*/ 3036789 w 4032385"/>
              <a:gd name="connsiteY309" fmla="*/ 40986 h 842974"/>
              <a:gd name="connsiteX310" fmla="*/ 3103717 w 4032385"/>
              <a:gd name="connsiteY310" fmla="*/ 13721 h 842974"/>
              <a:gd name="connsiteX311" fmla="*/ 2572074 w 4032385"/>
              <a:gd name="connsiteY311" fmla="*/ 13721 h 842974"/>
              <a:gd name="connsiteX312" fmla="*/ 2639004 w 4032385"/>
              <a:gd name="connsiteY312" fmla="*/ 40986 h 842974"/>
              <a:gd name="connsiteX313" fmla="*/ 2666588 w 4032385"/>
              <a:gd name="connsiteY313" fmla="*/ 107094 h 842974"/>
              <a:gd name="connsiteX314" fmla="*/ 2639004 w 4032385"/>
              <a:gd name="connsiteY314" fmla="*/ 173179 h 842974"/>
              <a:gd name="connsiteX315" fmla="*/ 2572011 w 4032385"/>
              <a:gd name="connsiteY315" fmla="*/ 200638 h 842974"/>
              <a:gd name="connsiteX316" fmla="*/ 2505144 w 4032385"/>
              <a:gd name="connsiteY316" fmla="*/ 173179 h 842974"/>
              <a:gd name="connsiteX317" fmla="*/ 2477685 w 4032385"/>
              <a:gd name="connsiteY317" fmla="*/ 107094 h 842974"/>
              <a:gd name="connsiteX318" fmla="*/ 2505144 w 4032385"/>
              <a:gd name="connsiteY318" fmla="*/ 40986 h 842974"/>
              <a:gd name="connsiteX319" fmla="*/ 2572074 w 4032385"/>
              <a:gd name="connsiteY319" fmla="*/ 13721 h 842974"/>
              <a:gd name="connsiteX320" fmla="*/ 2759628 w 4032385"/>
              <a:gd name="connsiteY320" fmla="*/ 13547 h 842974"/>
              <a:gd name="connsiteX321" fmla="*/ 2789468 w 4032385"/>
              <a:gd name="connsiteY321" fmla="*/ 18162 h 842974"/>
              <a:gd name="connsiteX322" fmla="*/ 2813955 w 4032385"/>
              <a:gd name="connsiteY322" fmla="*/ 30470 h 842974"/>
              <a:gd name="connsiteX323" fmla="*/ 2806769 w 4032385"/>
              <a:gd name="connsiteY323" fmla="*/ 41871 h 842974"/>
              <a:gd name="connsiteX324" fmla="*/ 2799605 w 4032385"/>
              <a:gd name="connsiteY324" fmla="*/ 53271 h 842974"/>
              <a:gd name="connsiteX325" fmla="*/ 2779585 w 4032385"/>
              <a:gd name="connsiteY325" fmla="*/ 43198 h 842974"/>
              <a:gd name="connsiteX326" fmla="*/ 2759354 w 4032385"/>
              <a:gd name="connsiteY326" fmla="*/ 39678 h 842974"/>
              <a:gd name="connsiteX327" fmla="*/ 2735984 w 4032385"/>
              <a:gd name="connsiteY327" fmla="*/ 47119 h 842974"/>
              <a:gd name="connsiteX328" fmla="*/ 2728355 w 4032385"/>
              <a:gd name="connsiteY328" fmla="*/ 65325 h 842974"/>
              <a:gd name="connsiteX329" fmla="*/ 2738955 w 4032385"/>
              <a:gd name="connsiteY329" fmla="*/ 83281 h 842974"/>
              <a:gd name="connsiteX330" fmla="*/ 2767067 w 4032385"/>
              <a:gd name="connsiteY330" fmla="*/ 93775 h 842974"/>
              <a:gd name="connsiteX331" fmla="*/ 2804831 w 4032385"/>
              <a:gd name="connsiteY331" fmla="*/ 110297 h 842974"/>
              <a:gd name="connsiteX332" fmla="*/ 2821648 w 4032385"/>
              <a:gd name="connsiteY332" fmla="*/ 146057 h 842974"/>
              <a:gd name="connsiteX333" fmla="*/ 2805083 w 4032385"/>
              <a:gd name="connsiteY333" fmla="*/ 185171 h 842974"/>
              <a:gd name="connsiteX334" fmla="*/ 2758343 w 4032385"/>
              <a:gd name="connsiteY334" fmla="*/ 200638 h 842974"/>
              <a:gd name="connsiteX335" fmla="*/ 2721654 w 4032385"/>
              <a:gd name="connsiteY335" fmla="*/ 194505 h 842974"/>
              <a:gd name="connsiteX336" fmla="*/ 2694764 w 4032385"/>
              <a:gd name="connsiteY336" fmla="*/ 180133 h 842974"/>
              <a:gd name="connsiteX337" fmla="*/ 2701950 w 4032385"/>
              <a:gd name="connsiteY337" fmla="*/ 168732 h 842974"/>
              <a:gd name="connsiteX338" fmla="*/ 2709114 w 4032385"/>
              <a:gd name="connsiteY338" fmla="*/ 157332 h 842974"/>
              <a:gd name="connsiteX339" fmla="*/ 2732906 w 4032385"/>
              <a:gd name="connsiteY339" fmla="*/ 169659 h 842974"/>
              <a:gd name="connsiteX340" fmla="*/ 2758595 w 4032385"/>
              <a:gd name="connsiteY340" fmla="*/ 174487 h 842974"/>
              <a:gd name="connsiteX341" fmla="*/ 2783990 w 4032385"/>
              <a:gd name="connsiteY341" fmla="*/ 166836 h 842974"/>
              <a:gd name="connsiteX342" fmla="*/ 2792671 w 4032385"/>
              <a:gd name="connsiteY342" fmla="*/ 147849 h 842974"/>
              <a:gd name="connsiteX343" fmla="*/ 2781987 w 4032385"/>
              <a:gd name="connsiteY343" fmla="*/ 129957 h 842974"/>
              <a:gd name="connsiteX344" fmla="*/ 2753980 w 4032385"/>
              <a:gd name="connsiteY344" fmla="*/ 119379 h 842974"/>
              <a:gd name="connsiteX345" fmla="*/ 2716112 w 4032385"/>
              <a:gd name="connsiteY345" fmla="*/ 102963 h 842974"/>
              <a:gd name="connsiteX346" fmla="*/ 2699399 w 4032385"/>
              <a:gd name="connsiteY346" fmla="*/ 67095 h 842974"/>
              <a:gd name="connsiteX347" fmla="*/ 2715289 w 4032385"/>
              <a:gd name="connsiteY347" fmla="*/ 28594 h 842974"/>
              <a:gd name="connsiteX348" fmla="*/ 2759628 w 4032385"/>
              <a:gd name="connsiteY348" fmla="*/ 13547 h 842974"/>
              <a:gd name="connsiteX349" fmla="*/ 969973 w 4032385"/>
              <a:gd name="connsiteY349" fmla="*/ 17 h 842974"/>
              <a:gd name="connsiteX350" fmla="*/ 1103348 w 4032385"/>
              <a:gd name="connsiteY350" fmla="*/ 18058 h 842974"/>
              <a:gd name="connsiteX351" fmla="*/ 1215924 w 4032385"/>
              <a:gd name="connsiteY351" fmla="*/ 71606 h 842974"/>
              <a:gd name="connsiteX352" fmla="*/ 1171459 w 4032385"/>
              <a:gd name="connsiteY352" fmla="*/ 141464 h 842974"/>
              <a:gd name="connsiteX353" fmla="*/ 1127015 w 4032385"/>
              <a:gd name="connsiteY353" fmla="*/ 211322 h 842974"/>
              <a:gd name="connsiteX354" fmla="*/ 1055427 w 4032385"/>
              <a:gd name="connsiteY354" fmla="*/ 174232 h 842974"/>
              <a:gd name="connsiteX355" fmla="*/ 969973 w 4032385"/>
              <a:gd name="connsiteY355" fmla="*/ 160515 h 842974"/>
              <a:gd name="connsiteX356" fmla="*/ 782756 w 4032385"/>
              <a:gd name="connsiteY356" fmla="*/ 238909 h 842974"/>
              <a:gd name="connsiteX357" fmla="*/ 705543 w 4032385"/>
              <a:gd name="connsiteY357" fmla="*/ 421279 h 842974"/>
              <a:gd name="connsiteX358" fmla="*/ 782756 w 4032385"/>
              <a:gd name="connsiteY358" fmla="*/ 603649 h 842974"/>
              <a:gd name="connsiteX359" fmla="*/ 969973 w 4032385"/>
              <a:gd name="connsiteY359" fmla="*/ 681306 h 842974"/>
              <a:gd name="connsiteX360" fmla="*/ 1069569 w 4032385"/>
              <a:gd name="connsiteY360" fmla="*/ 661666 h 842974"/>
              <a:gd name="connsiteX361" fmla="*/ 1153567 w 4032385"/>
              <a:gd name="connsiteY361" fmla="*/ 603945 h 842974"/>
              <a:gd name="connsiteX362" fmla="*/ 1242773 w 4032385"/>
              <a:gd name="connsiteY362" fmla="*/ 384254 h 842974"/>
              <a:gd name="connsiteX363" fmla="*/ 1375283 w 4032385"/>
              <a:gd name="connsiteY363" fmla="*/ 121255 h 842974"/>
              <a:gd name="connsiteX364" fmla="*/ 1508067 w 4032385"/>
              <a:gd name="connsiteY364" fmla="*/ 32492 h 842974"/>
              <a:gd name="connsiteX365" fmla="*/ 1678975 w 4032385"/>
              <a:gd name="connsiteY365" fmla="*/ 17 h 842974"/>
              <a:gd name="connsiteX366" fmla="*/ 1812328 w 4032385"/>
              <a:gd name="connsiteY366" fmla="*/ 19217 h 842974"/>
              <a:gd name="connsiteX367" fmla="*/ 1924924 w 4032385"/>
              <a:gd name="connsiteY367" fmla="*/ 73922 h 842974"/>
              <a:gd name="connsiteX368" fmla="*/ 1881049 w 4032385"/>
              <a:gd name="connsiteY368" fmla="*/ 143782 h 842974"/>
              <a:gd name="connsiteX369" fmla="*/ 1837151 w 4032385"/>
              <a:gd name="connsiteY369" fmla="*/ 213640 h 842974"/>
              <a:gd name="connsiteX370" fmla="*/ 1764406 w 4032385"/>
              <a:gd name="connsiteY370" fmla="*/ 175540 h 842974"/>
              <a:gd name="connsiteX371" fmla="*/ 1677815 w 4032385"/>
              <a:gd name="connsiteY371" fmla="*/ 161674 h 842974"/>
              <a:gd name="connsiteX372" fmla="*/ 1495359 w 4032385"/>
              <a:gd name="connsiteY372" fmla="*/ 238170 h 842974"/>
              <a:gd name="connsiteX373" fmla="*/ 1420317 w 4032385"/>
              <a:gd name="connsiteY373" fmla="*/ 420330 h 842974"/>
              <a:gd name="connsiteX374" fmla="*/ 1494642 w 4032385"/>
              <a:gd name="connsiteY374" fmla="*/ 605083 h 842974"/>
              <a:gd name="connsiteX375" fmla="*/ 1675497 w 4032385"/>
              <a:gd name="connsiteY375" fmla="*/ 682465 h 842974"/>
              <a:gd name="connsiteX376" fmla="*/ 1820419 w 4032385"/>
              <a:gd name="connsiteY376" fmla="*/ 632794 h 842974"/>
              <a:gd name="connsiteX377" fmla="*/ 1902985 w 4032385"/>
              <a:gd name="connsiteY377" fmla="*/ 506943 h 842974"/>
              <a:gd name="connsiteX378" fmla="*/ 1651261 w 4032385"/>
              <a:gd name="connsiteY378" fmla="*/ 506943 h 842974"/>
              <a:gd name="connsiteX379" fmla="*/ 1700911 w 4032385"/>
              <a:gd name="connsiteY379" fmla="*/ 428991 h 842974"/>
              <a:gd name="connsiteX380" fmla="*/ 1750561 w 4032385"/>
              <a:gd name="connsiteY380" fmla="*/ 351062 h 842974"/>
              <a:gd name="connsiteX381" fmla="*/ 2077348 w 4032385"/>
              <a:gd name="connsiteY381" fmla="*/ 351062 h 842974"/>
              <a:gd name="connsiteX382" fmla="*/ 2081521 w 4032385"/>
              <a:gd name="connsiteY382" fmla="*/ 385833 h 842974"/>
              <a:gd name="connsiteX383" fmla="*/ 2083123 w 4032385"/>
              <a:gd name="connsiteY383" fmla="*/ 421489 h 842974"/>
              <a:gd name="connsiteX384" fmla="*/ 1964035 w 4032385"/>
              <a:gd name="connsiteY384" fmla="*/ 719261 h 842974"/>
              <a:gd name="connsiteX385" fmla="*/ 1670881 w 4032385"/>
              <a:gd name="connsiteY385" fmla="*/ 842961 h 842974"/>
              <a:gd name="connsiteX386" fmla="*/ 1465203 w 4032385"/>
              <a:gd name="connsiteY386" fmla="*/ 793459 h 842974"/>
              <a:gd name="connsiteX387" fmla="*/ 1317540 w 4032385"/>
              <a:gd name="connsiteY387" fmla="*/ 661666 h 842974"/>
              <a:gd name="connsiteX388" fmla="*/ 1168571 w 4032385"/>
              <a:gd name="connsiteY388" fmla="*/ 793882 h 842974"/>
              <a:gd name="connsiteX389" fmla="*/ 964201 w 4032385"/>
              <a:gd name="connsiteY389" fmla="*/ 842961 h 842974"/>
              <a:gd name="connsiteX390" fmla="*/ 786360 w 4032385"/>
              <a:gd name="connsiteY390" fmla="*/ 805135 h 842974"/>
              <a:gd name="connsiteX391" fmla="*/ 646641 w 4032385"/>
              <a:gd name="connsiteY391" fmla="*/ 703245 h 842974"/>
              <a:gd name="connsiteX392" fmla="*/ 555141 w 4032385"/>
              <a:gd name="connsiteY392" fmla="*/ 791709 h 842974"/>
              <a:gd name="connsiteX393" fmla="*/ 416856 w 4032385"/>
              <a:gd name="connsiteY393" fmla="*/ 825640 h 842974"/>
              <a:gd name="connsiteX394" fmla="*/ 0 w 4032385"/>
              <a:gd name="connsiteY394" fmla="*/ 825640 h 842974"/>
              <a:gd name="connsiteX395" fmla="*/ 0 w 4032385"/>
              <a:gd name="connsiteY395" fmla="*/ 17341 h 842974"/>
              <a:gd name="connsiteX396" fmla="*/ 377596 w 4032385"/>
              <a:gd name="connsiteY396" fmla="*/ 17341 h 842974"/>
              <a:gd name="connsiteX397" fmla="*/ 534216 w 4032385"/>
              <a:gd name="connsiteY397" fmla="*/ 61807 h 842974"/>
              <a:gd name="connsiteX398" fmla="*/ 622408 w 4032385"/>
              <a:gd name="connsiteY398" fmla="*/ 175540 h 842974"/>
              <a:gd name="connsiteX399" fmla="*/ 770196 w 4032385"/>
              <a:gd name="connsiteY399" fmla="*/ 48382 h 842974"/>
              <a:gd name="connsiteX400" fmla="*/ 969973 w 4032385"/>
              <a:gd name="connsiteY400" fmla="*/ 17 h 84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4032385" h="842974">
                <a:moveTo>
                  <a:pt x="3149701" y="673171"/>
                </a:moveTo>
                <a:lnTo>
                  <a:pt x="3149701" y="738035"/>
                </a:lnTo>
                <a:lnTo>
                  <a:pt x="3190456" y="738035"/>
                </a:lnTo>
                <a:cubicBezTo>
                  <a:pt x="3199096" y="738290"/>
                  <a:pt x="3207483" y="735170"/>
                  <a:pt x="3213869" y="729354"/>
                </a:cubicBezTo>
                <a:cubicBezTo>
                  <a:pt x="3226322" y="716119"/>
                  <a:pt x="3226322" y="695236"/>
                  <a:pt x="3213869" y="682023"/>
                </a:cubicBezTo>
                <a:cubicBezTo>
                  <a:pt x="3207525" y="676142"/>
                  <a:pt x="3199118" y="672961"/>
                  <a:pt x="3190456" y="673171"/>
                </a:cubicBezTo>
                <a:close/>
                <a:moveTo>
                  <a:pt x="2552665" y="673171"/>
                </a:moveTo>
                <a:lnTo>
                  <a:pt x="2552665" y="735465"/>
                </a:lnTo>
                <a:lnTo>
                  <a:pt x="2596244" y="735465"/>
                </a:lnTo>
                <a:cubicBezTo>
                  <a:pt x="2604569" y="735719"/>
                  <a:pt x="2612662" y="732745"/>
                  <a:pt x="2618835" y="727161"/>
                </a:cubicBezTo>
                <a:cubicBezTo>
                  <a:pt x="2624842" y="721177"/>
                  <a:pt x="2628087" y="712937"/>
                  <a:pt x="2627771" y="704444"/>
                </a:cubicBezTo>
                <a:cubicBezTo>
                  <a:pt x="2628045" y="695952"/>
                  <a:pt x="2624800" y="687733"/>
                  <a:pt x="2618835" y="681706"/>
                </a:cubicBezTo>
                <a:cubicBezTo>
                  <a:pt x="2612724" y="676016"/>
                  <a:pt x="2604589" y="672941"/>
                  <a:pt x="2596244" y="673171"/>
                </a:cubicBezTo>
                <a:close/>
                <a:moveTo>
                  <a:pt x="2785970" y="669841"/>
                </a:moveTo>
                <a:cubicBezTo>
                  <a:pt x="2768646" y="669841"/>
                  <a:pt x="2752042" y="676839"/>
                  <a:pt x="2739924" y="689229"/>
                </a:cubicBezTo>
                <a:cubicBezTo>
                  <a:pt x="2714910" y="715550"/>
                  <a:pt x="2714910" y="757423"/>
                  <a:pt x="2739924" y="783745"/>
                </a:cubicBezTo>
                <a:cubicBezTo>
                  <a:pt x="2751978" y="796179"/>
                  <a:pt x="2768584" y="803174"/>
                  <a:pt x="2785906" y="803132"/>
                </a:cubicBezTo>
                <a:cubicBezTo>
                  <a:pt x="2803271" y="803216"/>
                  <a:pt x="2819962" y="796240"/>
                  <a:pt x="2832099" y="783829"/>
                </a:cubicBezTo>
                <a:cubicBezTo>
                  <a:pt x="2857200" y="757487"/>
                  <a:pt x="2857158" y="715530"/>
                  <a:pt x="2832015" y="689229"/>
                </a:cubicBezTo>
                <a:cubicBezTo>
                  <a:pt x="2819898" y="676839"/>
                  <a:pt x="2803293" y="669841"/>
                  <a:pt x="2785970" y="669841"/>
                </a:cubicBezTo>
                <a:close/>
                <a:moveTo>
                  <a:pt x="3120744" y="646767"/>
                </a:moveTo>
                <a:lnTo>
                  <a:pt x="3190456" y="646767"/>
                </a:lnTo>
                <a:cubicBezTo>
                  <a:pt x="3207251" y="646239"/>
                  <a:pt x="3223583" y="652310"/>
                  <a:pt x="3235953" y="663688"/>
                </a:cubicBezTo>
                <a:cubicBezTo>
                  <a:pt x="3258525" y="686554"/>
                  <a:pt x="3258525" y="723874"/>
                  <a:pt x="3235953" y="746739"/>
                </a:cubicBezTo>
                <a:cubicBezTo>
                  <a:pt x="3223583" y="758120"/>
                  <a:pt x="3207251" y="764189"/>
                  <a:pt x="3190456" y="763662"/>
                </a:cubicBezTo>
                <a:lnTo>
                  <a:pt x="3149701" y="763662"/>
                </a:lnTo>
                <a:lnTo>
                  <a:pt x="3149701" y="826186"/>
                </a:lnTo>
                <a:lnTo>
                  <a:pt x="3120744" y="826186"/>
                </a:lnTo>
                <a:close/>
                <a:moveTo>
                  <a:pt x="2919303" y="646767"/>
                </a:moveTo>
                <a:lnTo>
                  <a:pt x="2948257" y="646767"/>
                </a:lnTo>
                <a:lnTo>
                  <a:pt x="2948257" y="756728"/>
                </a:lnTo>
                <a:cubicBezTo>
                  <a:pt x="2947983" y="768950"/>
                  <a:pt x="2952452" y="780837"/>
                  <a:pt x="2960691" y="789855"/>
                </a:cubicBezTo>
                <a:cubicBezTo>
                  <a:pt x="2978898" y="807770"/>
                  <a:pt x="3008529" y="807770"/>
                  <a:pt x="3026757" y="789855"/>
                </a:cubicBezTo>
                <a:cubicBezTo>
                  <a:pt x="3034997" y="780837"/>
                  <a:pt x="3039486" y="768972"/>
                  <a:pt x="3039233" y="756728"/>
                </a:cubicBezTo>
                <a:lnTo>
                  <a:pt x="3039233" y="646767"/>
                </a:lnTo>
                <a:lnTo>
                  <a:pt x="3067681" y="646767"/>
                </a:lnTo>
                <a:lnTo>
                  <a:pt x="3067681" y="757003"/>
                </a:lnTo>
                <a:cubicBezTo>
                  <a:pt x="3068020" y="776536"/>
                  <a:pt x="3060411" y="795420"/>
                  <a:pt x="3046607" y="809285"/>
                </a:cubicBezTo>
                <a:cubicBezTo>
                  <a:pt x="3016810" y="836808"/>
                  <a:pt x="2970300" y="836808"/>
                  <a:pt x="2940503" y="809285"/>
                </a:cubicBezTo>
                <a:cubicBezTo>
                  <a:pt x="2926637" y="795462"/>
                  <a:pt x="2918987" y="776578"/>
                  <a:pt x="2919303" y="757003"/>
                </a:cubicBezTo>
                <a:close/>
                <a:moveTo>
                  <a:pt x="2523708" y="646767"/>
                </a:moveTo>
                <a:lnTo>
                  <a:pt x="2596244" y="646767"/>
                </a:lnTo>
                <a:cubicBezTo>
                  <a:pt x="2612724" y="646219"/>
                  <a:pt x="2628804" y="652203"/>
                  <a:pt x="2640900" y="663414"/>
                </a:cubicBezTo>
                <a:cubicBezTo>
                  <a:pt x="2660455" y="683877"/>
                  <a:pt x="2662984" y="715508"/>
                  <a:pt x="2646926" y="738816"/>
                </a:cubicBezTo>
                <a:cubicBezTo>
                  <a:pt x="2639614" y="748383"/>
                  <a:pt x="2629224" y="755169"/>
                  <a:pt x="2617529" y="758014"/>
                </a:cubicBezTo>
                <a:lnTo>
                  <a:pt x="2638919" y="792090"/>
                </a:lnTo>
                <a:lnTo>
                  <a:pt x="2660329" y="826186"/>
                </a:lnTo>
                <a:lnTo>
                  <a:pt x="2626738" y="826186"/>
                </a:lnTo>
                <a:lnTo>
                  <a:pt x="2606888" y="793776"/>
                </a:lnTo>
                <a:lnTo>
                  <a:pt x="2587015" y="761344"/>
                </a:lnTo>
                <a:lnTo>
                  <a:pt x="2552665" y="761344"/>
                </a:lnTo>
                <a:lnTo>
                  <a:pt x="2552665" y="826186"/>
                </a:lnTo>
                <a:lnTo>
                  <a:pt x="2523708" y="826186"/>
                </a:lnTo>
                <a:close/>
                <a:moveTo>
                  <a:pt x="2785971" y="643110"/>
                </a:moveTo>
                <a:cubicBezTo>
                  <a:pt x="2810216" y="643110"/>
                  <a:pt x="2834460" y="652203"/>
                  <a:pt x="2852899" y="670390"/>
                </a:cubicBezTo>
                <a:cubicBezTo>
                  <a:pt x="2870539" y="687859"/>
                  <a:pt x="2880486" y="711672"/>
                  <a:pt x="2880486" y="736498"/>
                </a:cubicBezTo>
                <a:cubicBezTo>
                  <a:pt x="2880486" y="761302"/>
                  <a:pt x="2870539" y="785114"/>
                  <a:pt x="2852899" y="802584"/>
                </a:cubicBezTo>
                <a:cubicBezTo>
                  <a:pt x="2835093" y="820243"/>
                  <a:pt x="2810984" y="830106"/>
                  <a:pt x="2785906" y="830042"/>
                </a:cubicBezTo>
                <a:cubicBezTo>
                  <a:pt x="2760872" y="830129"/>
                  <a:pt x="2736785" y="820243"/>
                  <a:pt x="2719041" y="802584"/>
                </a:cubicBezTo>
                <a:cubicBezTo>
                  <a:pt x="2701485" y="785072"/>
                  <a:pt x="2691582" y="761279"/>
                  <a:pt x="2691582" y="736498"/>
                </a:cubicBezTo>
                <a:cubicBezTo>
                  <a:pt x="2691582" y="711694"/>
                  <a:pt x="2701485" y="687901"/>
                  <a:pt x="2719041" y="670390"/>
                </a:cubicBezTo>
                <a:cubicBezTo>
                  <a:pt x="2737481" y="652203"/>
                  <a:pt x="2761726" y="643110"/>
                  <a:pt x="2785971" y="643110"/>
                </a:cubicBezTo>
                <a:close/>
                <a:moveTo>
                  <a:pt x="2396594" y="642931"/>
                </a:moveTo>
                <a:cubicBezTo>
                  <a:pt x="2406856" y="642867"/>
                  <a:pt x="2417099" y="644236"/>
                  <a:pt x="2426982" y="647040"/>
                </a:cubicBezTo>
                <a:cubicBezTo>
                  <a:pt x="2436297" y="649695"/>
                  <a:pt x="2445085" y="653951"/>
                  <a:pt x="2452965" y="659600"/>
                </a:cubicBezTo>
                <a:lnTo>
                  <a:pt x="2445401" y="671381"/>
                </a:lnTo>
                <a:lnTo>
                  <a:pt x="2437856" y="683160"/>
                </a:lnTo>
                <a:cubicBezTo>
                  <a:pt x="2432060" y="678693"/>
                  <a:pt x="2425507" y="675257"/>
                  <a:pt x="2418531" y="673045"/>
                </a:cubicBezTo>
                <a:cubicBezTo>
                  <a:pt x="2411345" y="670854"/>
                  <a:pt x="2403842" y="669779"/>
                  <a:pt x="2396320" y="669863"/>
                </a:cubicBezTo>
                <a:cubicBezTo>
                  <a:pt x="2379103" y="669737"/>
                  <a:pt x="2362580" y="676669"/>
                  <a:pt x="2350611" y="689041"/>
                </a:cubicBezTo>
                <a:cubicBezTo>
                  <a:pt x="2338451" y="701811"/>
                  <a:pt x="2331772" y="718860"/>
                  <a:pt x="2332002" y="736498"/>
                </a:cubicBezTo>
                <a:cubicBezTo>
                  <a:pt x="2331730" y="754073"/>
                  <a:pt x="2338199" y="771100"/>
                  <a:pt x="2350106" y="784061"/>
                </a:cubicBezTo>
                <a:cubicBezTo>
                  <a:pt x="2361801" y="796515"/>
                  <a:pt x="2378218" y="803533"/>
                  <a:pt x="2395309" y="803384"/>
                </a:cubicBezTo>
                <a:cubicBezTo>
                  <a:pt x="2409997" y="803827"/>
                  <a:pt x="2424327" y="798749"/>
                  <a:pt x="2435454" y="789161"/>
                </a:cubicBezTo>
                <a:cubicBezTo>
                  <a:pt x="2445611" y="779740"/>
                  <a:pt x="2452248" y="767118"/>
                  <a:pt x="2454251" y="753399"/>
                </a:cubicBezTo>
                <a:lnTo>
                  <a:pt x="2393265" y="753399"/>
                </a:lnTo>
                <a:lnTo>
                  <a:pt x="2401588" y="740332"/>
                </a:lnTo>
                <a:lnTo>
                  <a:pt x="2409911" y="727267"/>
                </a:lnTo>
                <a:lnTo>
                  <a:pt x="2481690" y="727267"/>
                </a:lnTo>
                <a:cubicBezTo>
                  <a:pt x="2482132" y="729144"/>
                  <a:pt x="2482448" y="731062"/>
                  <a:pt x="2482617" y="733000"/>
                </a:cubicBezTo>
                <a:cubicBezTo>
                  <a:pt x="2482827" y="735274"/>
                  <a:pt x="2482953" y="737761"/>
                  <a:pt x="2482953" y="740080"/>
                </a:cubicBezTo>
                <a:cubicBezTo>
                  <a:pt x="2483437" y="763808"/>
                  <a:pt x="2474672" y="786800"/>
                  <a:pt x="2458507" y="804185"/>
                </a:cubicBezTo>
                <a:cubicBezTo>
                  <a:pt x="2441839" y="821192"/>
                  <a:pt x="2418847" y="830549"/>
                  <a:pt x="2395054" y="830042"/>
                </a:cubicBezTo>
                <a:cubicBezTo>
                  <a:pt x="2370357" y="830191"/>
                  <a:pt x="2346606" y="820350"/>
                  <a:pt x="2329263" y="802774"/>
                </a:cubicBezTo>
                <a:cubicBezTo>
                  <a:pt x="2293565" y="766021"/>
                  <a:pt x="2293859" y="706594"/>
                  <a:pt x="2329938" y="670199"/>
                </a:cubicBezTo>
                <a:cubicBezTo>
                  <a:pt x="2347662" y="652646"/>
                  <a:pt x="2371642" y="642825"/>
                  <a:pt x="2396594" y="642931"/>
                </a:cubicBezTo>
                <a:close/>
                <a:moveTo>
                  <a:pt x="175520" y="491918"/>
                </a:moveTo>
                <a:lnTo>
                  <a:pt x="175520" y="675531"/>
                </a:lnTo>
                <a:lnTo>
                  <a:pt x="414560" y="675531"/>
                </a:lnTo>
                <a:cubicBezTo>
                  <a:pt x="439762" y="675722"/>
                  <a:pt x="464081" y="666155"/>
                  <a:pt x="482396" y="648832"/>
                </a:cubicBezTo>
                <a:cubicBezTo>
                  <a:pt x="500350" y="631721"/>
                  <a:pt x="510485" y="607948"/>
                  <a:pt x="510401" y="583146"/>
                </a:cubicBezTo>
                <a:cubicBezTo>
                  <a:pt x="510527" y="558511"/>
                  <a:pt x="500370" y="534886"/>
                  <a:pt x="482396" y="518049"/>
                </a:cubicBezTo>
                <a:cubicBezTo>
                  <a:pt x="463955" y="501022"/>
                  <a:pt x="439658" y="491666"/>
                  <a:pt x="414560" y="491918"/>
                </a:cubicBezTo>
                <a:close/>
                <a:moveTo>
                  <a:pt x="2577194" y="355151"/>
                </a:moveTo>
                <a:cubicBezTo>
                  <a:pt x="2559871" y="355151"/>
                  <a:pt x="2543244" y="362147"/>
                  <a:pt x="2531149" y="374539"/>
                </a:cubicBezTo>
                <a:cubicBezTo>
                  <a:pt x="2506135" y="400858"/>
                  <a:pt x="2506135" y="442711"/>
                  <a:pt x="2531149" y="469052"/>
                </a:cubicBezTo>
                <a:cubicBezTo>
                  <a:pt x="2543202" y="481464"/>
                  <a:pt x="2559809" y="488482"/>
                  <a:pt x="2577130" y="488420"/>
                </a:cubicBezTo>
                <a:cubicBezTo>
                  <a:pt x="2594496" y="488504"/>
                  <a:pt x="2611164" y="481548"/>
                  <a:pt x="2623324" y="469137"/>
                </a:cubicBezTo>
                <a:cubicBezTo>
                  <a:pt x="2648402" y="442795"/>
                  <a:pt x="2648360" y="400816"/>
                  <a:pt x="2623218" y="374539"/>
                </a:cubicBezTo>
                <a:cubicBezTo>
                  <a:pt x="2611122" y="362147"/>
                  <a:pt x="2594496" y="355151"/>
                  <a:pt x="2577194" y="355151"/>
                </a:cubicBezTo>
                <a:close/>
                <a:moveTo>
                  <a:pt x="3664168" y="332095"/>
                </a:moveTo>
                <a:lnTo>
                  <a:pt x="3699804" y="332095"/>
                </a:lnTo>
                <a:lnTo>
                  <a:pt x="3741699" y="399889"/>
                </a:lnTo>
                <a:lnTo>
                  <a:pt x="3783614" y="467683"/>
                </a:lnTo>
                <a:lnTo>
                  <a:pt x="3783614" y="332095"/>
                </a:lnTo>
                <a:lnTo>
                  <a:pt x="3811283" y="332095"/>
                </a:lnTo>
                <a:lnTo>
                  <a:pt x="3811283" y="511496"/>
                </a:lnTo>
                <a:lnTo>
                  <a:pt x="3777713" y="511496"/>
                </a:lnTo>
                <a:lnTo>
                  <a:pt x="3734788" y="442036"/>
                </a:lnTo>
                <a:lnTo>
                  <a:pt x="3691839" y="372599"/>
                </a:lnTo>
                <a:lnTo>
                  <a:pt x="3691839" y="511496"/>
                </a:lnTo>
                <a:lnTo>
                  <a:pt x="3664168" y="511496"/>
                </a:lnTo>
                <a:close/>
                <a:moveTo>
                  <a:pt x="3571276" y="332095"/>
                </a:moveTo>
                <a:lnTo>
                  <a:pt x="3600233" y="332095"/>
                </a:lnTo>
                <a:lnTo>
                  <a:pt x="3600233" y="511496"/>
                </a:lnTo>
                <a:lnTo>
                  <a:pt x="3571276" y="511496"/>
                </a:lnTo>
                <a:close/>
                <a:moveTo>
                  <a:pt x="3385977" y="332095"/>
                </a:moveTo>
                <a:lnTo>
                  <a:pt x="3527698" y="332095"/>
                </a:lnTo>
                <a:lnTo>
                  <a:pt x="3527698" y="358733"/>
                </a:lnTo>
                <a:lnTo>
                  <a:pt x="3471325" y="358733"/>
                </a:lnTo>
                <a:lnTo>
                  <a:pt x="3471325" y="511496"/>
                </a:lnTo>
                <a:lnTo>
                  <a:pt x="3442096" y="511496"/>
                </a:lnTo>
                <a:lnTo>
                  <a:pt x="3442096" y="358733"/>
                </a:lnTo>
                <a:lnTo>
                  <a:pt x="3385977" y="358733"/>
                </a:lnTo>
                <a:close/>
                <a:moveTo>
                  <a:pt x="3273572" y="332095"/>
                </a:moveTo>
                <a:lnTo>
                  <a:pt x="3302526" y="332095"/>
                </a:lnTo>
                <a:lnTo>
                  <a:pt x="3302526" y="484836"/>
                </a:lnTo>
                <a:lnTo>
                  <a:pt x="3390951" y="484836"/>
                </a:lnTo>
                <a:lnTo>
                  <a:pt x="3390951" y="511496"/>
                </a:lnTo>
                <a:lnTo>
                  <a:pt x="3273572" y="511496"/>
                </a:lnTo>
                <a:close/>
                <a:moveTo>
                  <a:pt x="3073730" y="332095"/>
                </a:moveTo>
                <a:lnTo>
                  <a:pt x="3102684" y="332095"/>
                </a:lnTo>
                <a:lnTo>
                  <a:pt x="3102684" y="442036"/>
                </a:lnTo>
                <a:cubicBezTo>
                  <a:pt x="3102432" y="454260"/>
                  <a:pt x="3106879" y="466123"/>
                  <a:pt x="3115118" y="475163"/>
                </a:cubicBezTo>
                <a:cubicBezTo>
                  <a:pt x="3133327" y="493077"/>
                  <a:pt x="3162976" y="493077"/>
                  <a:pt x="3181184" y="475163"/>
                </a:cubicBezTo>
                <a:cubicBezTo>
                  <a:pt x="3189445" y="466145"/>
                  <a:pt x="3193934" y="454260"/>
                  <a:pt x="3193680" y="442036"/>
                </a:cubicBezTo>
                <a:lnTo>
                  <a:pt x="3193680" y="332095"/>
                </a:lnTo>
                <a:lnTo>
                  <a:pt x="3222130" y="332095"/>
                </a:lnTo>
                <a:lnTo>
                  <a:pt x="3222130" y="442288"/>
                </a:lnTo>
                <a:cubicBezTo>
                  <a:pt x="3222466" y="461847"/>
                  <a:pt x="3214860" y="480728"/>
                  <a:pt x="3201056" y="494573"/>
                </a:cubicBezTo>
                <a:cubicBezTo>
                  <a:pt x="3171259" y="522116"/>
                  <a:pt x="3124727" y="522116"/>
                  <a:pt x="3094930" y="494573"/>
                </a:cubicBezTo>
                <a:cubicBezTo>
                  <a:pt x="3081064" y="480750"/>
                  <a:pt x="3073413" y="461866"/>
                  <a:pt x="3073730" y="442288"/>
                </a:cubicBezTo>
                <a:close/>
                <a:moveTo>
                  <a:pt x="2712886" y="332095"/>
                </a:moveTo>
                <a:lnTo>
                  <a:pt x="2748522" y="332095"/>
                </a:lnTo>
                <a:lnTo>
                  <a:pt x="2832332" y="467663"/>
                </a:lnTo>
                <a:lnTo>
                  <a:pt x="2832332" y="332095"/>
                </a:lnTo>
                <a:lnTo>
                  <a:pt x="2860023" y="332095"/>
                </a:lnTo>
                <a:lnTo>
                  <a:pt x="2860023" y="511496"/>
                </a:lnTo>
                <a:lnTo>
                  <a:pt x="2826431" y="511496"/>
                </a:lnTo>
                <a:lnTo>
                  <a:pt x="2740577" y="372579"/>
                </a:lnTo>
                <a:lnTo>
                  <a:pt x="2740577" y="511496"/>
                </a:lnTo>
                <a:lnTo>
                  <a:pt x="2712886" y="511496"/>
                </a:lnTo>
                <a:close/>
                <a:moveTo>
                  <a:pt x="2577187" y="328418"/>
                </a:moveTo>
                <a:cubicBezTo>
                  <a:pt x="2601435" y="328418"/>
                  <a:pt x="2625685" y="337511"/>
                  <a:pt x="2644123" y="355698"/>
                </a:cubicBezTo>
                <a:cubicBezTo>
                  <a:pt x="2661763" y="373147"/>
                  <a:pt x="2671710" y="396960"/>
                  <a:pt x="2671710" y="421786"/>
                </a:cubicBezTo>
                <a:cubicBezTo>
                  <a:pt x="2671710" y="446609"/>
                  <a:pt x="2661763" y="470422"/>
                  <a:pt x="2644123" y="487872"/>
                </a:cubicBezTo>
                <a:cubicBezTo>
                  <a:pt x="2626317" y="505531"/>
                  <a:pt x="2602208" y="515414"/>
                  <a:pt x="2577130" y="515330"/>
                </a:cubicBezTo>
                <a:cubicBezTo>
                  <a:pt x="2552074" y="515436"/>
                  <a:pt x="2528009" y="505551"/>
                  <a:pt x="2510263" y="487872"/>
                </a:cubicBezTo>
                <a:cubicBezTo>
                  <a:pt x="2492690" y="470380"/>
                  <a:pt x="2482805" y="446589"/>
                  <a:pt x="2482805" y="421786"/>
                </a:cubicBezTo>
                <a:cubicBezTo>
                  <a:pt x="2482805" y="397002"/>
                  <a:pt x="2492690" y="373189"/>
                  <a:pt x="2510263" y="355698"/>
                </a:cubicBezTo>
                <a:cubicBezTo>
                  <a:pt x="2528693" y="337511"/>
                  <a:pt x="2552939" y="328418"/>
                  <a:pt x="2577187" y="328418"/>
                </a:cubicBezTo>
                <a:close/>
                <a:moveTo>
                  <a:pt x="3945986" y="328239"/>
                </a:moveTo>
                <a:cubicBezTo>
                  <a:pt x="3956269" y="328177"/>
                  <a:pt x="3966491" y="329547"/>
                  <a:pt x="3976396" y="332347"/>
                </a:cubicBezTo>
                <a:cubicBezTo>
                  <a:pt x="3985710" y="335005"/>
                  <a:pt x="3994498" y="339261"/>
                  <a:pt x="4002359" y="344908"/>
                </a:cubicBezTo>
                <a:lnTo>
                  <a:pt x="3994814" y="356689"/>
                </a:lnTo>
                <a:lnTo>
                  <a:pt x="3987248" y="368468"/>
                </a:lnTo>
                <a:cubicBezTo>
                  <a:pt x="3981453" y="364001"/>
                  <a:pt x="3974920" y="360565"/>
                  <a:pt x="3967944" y="358353"/>
                </a:cubicBezTo>
                <a:cubicBezTo>
                  <a:pt x="3960738" y="356162"/>
                  <a:pt x="3953256" y="355087"/>
                  <a:pt x="3945733" y="355171"/>
                </a:cubicBezTo>
                <a:cubicBezTo>
                  <a:pt x="3928516" y="355045"/>
                  <a:pt x="3911974" y="361979"/>
                  <a:pt x="3900004" y="374349"/>
                </a:cubicBezTo>
                <a:cubicBezTo>
                  <a:pt x="3887865" y="387119"/>
                  <a:pt x="3881185" y="404168"/>
                  <a:pt x="3881395" y="421806"/>
                </a:cubicBezTo>
                <a:cubicBezTo>
                  <a:pt x="3881121" y="439381"/>
                  <a:pt x="3887612" y="456408"/>
                  <a:pt x="3899498" y="469369"/>
                </a:cubicBezTo>
                <a:cubicBezTo>
                  <a:pt x="3911215" y="481823"/>
                  <a:pt x="3927609" y="488841"/>
                  <a:pt x="3944700" y="488692"/>
                </a:cubicBezTo>
                <a:cubicBezTo>
                  <a:pt x="3959389" y="489135"/>
                  <a:pt x="3973719" y="484057"/>
                  <a:pt x="3984845" y="474469"/>
                </a:cubicBezTo>
                <a:cubicBezTo>
                  <a:pt x="3995003" y="465048"/>
                  <a:pt x="4001642" y="452426"/>
                  <a:pt x="4003664" y="438707"/>
                </a:cubicBezTo>
                <a:lnTo>
                  <a:pt x="3942656" y="438707"/>
                </a:lnTo>
                <a:lnTo>
                  <a:pt x="3950981" y="425642"/>
                </a:lnTo>
                <a:lnTo>
                  <a:pt x="3959327" y="412575"/>
                </a:lnTo>
                <a:lnTo>
                  <a:pt x="4031081" y="412575"/>
                </a:lnTo>
                <a:cubicBezTo>
                  <a:pt x="4031546" y="414451"/>
                  <a:pt x="4031840" y="416370"/>
                  <a:pt x="4032008" y="418308"/>
                </a:cubicBezTo>
                <a:cubicBezTo>
                  <a:pt x="4032240" y="420584"/>
                  <a:pt x="4032366" y="423071"/>
                  <a:pt x="4032366" y="425388"/>
                </a:cubicBezTo>
                <a:cubicBezTo>
                  <a:pt x="4032851" y="449118"/>
                  <a:pt x="4024085" y="472108"/>
                  <a:pt x="4007921" y="489493"/>
                </a:cubicBezTo>
                <a:cubicBezTo>
                  <a:pt x="3991252" y="506500"/>
                  <a:pt x="3968261" y="515857"/>
                  <a:pt x="3944448" y="515352"/>
                </a:cubicBezTo>
                <a:cubicBezTo>
                  <a:pt x="3919750" y="515498"/>
                  <a:pt x="3896022" y="505657"/>
                  <a:pt x="3878676" y="488082"/>
                </a:cubicBezTo>
                <a:cubicBezTo>
                  <a:pt x="3842978" y="451331"/>
                  <a:pt x="3843273" y="391902"/>
                  <a:pt x="3879351" y="355507"/>
                </a:cubicBezTo>
                <a:cubicBezTo>
                  <a:pt x="3897053" y="337954"/>
                  <a:pt x="3921036" y="328133"/>
                  <a:pt x="3945986" y="328239"/>
                </a:cubicBezTo>
                <a:close/>
                <a:moveTo>
                  <a:pt x="2397605" y="328239"/>
                </a:moveTo>
                <a:cubicBezTo>
                  <a:pt x="2419312" y="327690"/>
                  <a:pt x="2440553" y="334750"/>
                  <a:pt x="2457580" y="348217"/>
                </a:cubicBezTo>
                <a:lnTo>
                  <a:pt x="2450142" y="359892"/>
                </a:lnTo>
                <a:lnTo>
                  <a:pt x="2442724" y="371545"/>
                </a:lnTo>
                <a:cubicBezTo>
                  <a:pt x="2436233" y="366340"/>
                  <a:pt x="2428985" y="362167"/>
                  <a:pt x="2421208" y="359176"/>
                </a:cubicBezTo>
                <a:cubicBezTo>
                  <a:pt x="2413157" y="356246"/>
                  <a:pt x="2404643" y="354793"/>
                  <a:pt x="2396068" y="354897"/>
                </a:cubicBezTo>
                <a:cubicBezTo>
                  <a:pt x="2378935" y="354855"/>
                  <a:pt x="2362518" y="361831"/>
                  <a:pt x="2350675" y="374223"/>
                </a:cubicBezTo>
                <a:cubicBezTo>
                  <a:pt x="2325891" y="400900"/>
                  <a:pt x="2325891" y="442689"/>
                  <a:pt x="2350675" y="469369"/>
                </a:cubicBezTo>
                <a:cubicBezTo>
                  <a:pt x="2362518" y="481739"/>
                  <a:pt x="2378935" y="488737"/>
                  <a:pt x="2396068" y="488692"/>
                </a:cubicBezTo>
                <a:cubicBezTo>
                  <a:pt x="2404643" y="488779"/>
                  <a:pt x="2413157" y="487323"/>
                  <a:pt x="2421208" y="484394"/>
                </a:cubicBezTo>
                <a:cubicBezTo>
                  <a:pt x="2428985" y="481402"/>
                  <a:pt x="2436233" y="477230"/>
                  <a:pt x="2442724" y="472024"/>
                </a:cubicBezTo>
                <a:lnTo>
                  <a:pt x="2450142" y="483699"/>
                </a:lnTo>
                <a:lnTo>
                  <a:pt x="2457580" y="495352"/>
                </a:lnTo>
                <a:cubicBezTo>
                  <a:pt x="2440553" y="508819"/>
                  <a:pt x="2419312" y="515899"/>
                  <a:pt x="2397605" y="515330"/>
                </a:cubicBezTo>
                <a:cubicBezTo>
                  <a:pt x="2372379" y="515521"/>
                  <a:pt x="2348104" y="505722"/>
                  <a:pt x="2330086" y="488062"/>
                </a:cubicBezTo>
                <a:cubicBezTo>
                  <a:pt x="2312362" y="470590"/>
                  <a:pt x="2302415" y="446674"/>
                  <a:pt x="2302521" y="421786"/>
                </a:cubicBezTo>
                <a:cubicBezTo>
                  <a:pt x="2302415" y="396898"/>
                  <a:pt x="2312362" y="372979"/>
                  <a:pt x="2330086" y="355507"/>
                </a:cubicBezTo>
                <a:cubicBezTo>
                  <a:pt x="2348104" y="337870"/>
                  <a:pt x="2372379" y="328049"/>
                  <a:pt x="2397605" y="328239"/>
                </a:cubicBezTo>
                <a:close/>
                <a:moveTo>
                  <a:pt x="2967329" y="328177"/>
                </a:moveTo>
                <a:lnTo>
                  <a:pt x="2967709" y="328177"/>
                </a:lnTo>
                <a:cubicBezTo>
                  <a:pt x="2968594" y="328177"/>
                  <a:pt x="2969479" y="328197"/>
                  <a:pt x="2970364" y="328239"/>
                </a:cubicBezTo>
                <a:cubicBezTo>
                  <a:pt x="2980499" y="328197"/>
                  <a:pt x="2990573" y="329757"/>
                  <a:pt x="3000226" y="332854"/>
                </a:cubicBezTo>
                <a:cubicBezTo>
                  <a:pt x="3008971" y="335677"/>
                  <a:pt x="3017211" y="339830"/>
                  <a:pt x="3024691" y="345162"/>
                </a:cubicBezTo>
                <a:lnTo>
                  <a:pt x="3017527" y="356563"/>
                </a:lnTo>
                <a:lnTo>
                  <a:pt x="3010341" y="367963"/>
                </a:lnTo>
                <a:cubicBezTo>
                  <a:pt x="3004082" y="363833"/>
                  <a:pt x="2997380" y="360461"/>
                  <a:pt x="2990321" y="357910"/>
                </a:cubicBezTo>
                <a:cubicBezTo>
                  <a:pt x="2983829" y="355594"/>
                  <a:pt x="2977002" y="354412"/>
                  <a:pt x="2970112" y="354392"/>
                </a:cubicBezTo>
                <a:cubicBezTo>
                  <a:pt x="2961660" y="353866"/>
                  <a:pt x="2953315" y="356521"/>
                  <a:pt x="2946720" y="361808"/>
                </a:cubicBezTo>
                <a:cubicBezTo>
                  <a:pt x="2941662" y="366488"/>
                  <a:pt x="2938879" y="373125"/>
                  <a:pt x="2939091" y="380017"/>
                </a:cubicBezTo>
                <a:cubicBezTo>
                  <a:pt x="2938879" y="387539"/>
                  <a:pt x="2943010" y="394537"/>
                  <a:pt x="2949691" y="397993"/>
                </a:cubicBezTo>
                <a:cubicBezTo>
                  <a:pt x="2958605" y="402566"/>
                  <a:pt x="2968046" y="406084"/>
                  <a:pt x="2977802" y="408445"/>
                </a:cubicBezTo>
                <a:cubicBezTo>
                  <a:pt x="2991248" y="411754"/>
                  <a:pt x="3004040" y="417339"/>
                  <a:pt x="3015567" y="424987"/>
                </a:cubicBezTo>
                <a:cubicBezTo>
                  <a:pt x="3026799" y="433332"/>
                  <a:pt x="3033120" y="446778"/>
                  <a:pt x="3032384" y="460749"/>
                </a:cubicBezTo>
                <a:cubicBezTo>
                  <a:pt x="3032804" y="475564"/>
                  <a:pt x="3026757" y="489852"/>
                  <a:pt x="3015819" y="499863"/>
                </a:cubicBezTo>
                <a:cubicBezTo>
                  <a:pt x="3002712" y="510653"/>
                  <a:pt x="2986042" y="516173"/>
                  <a:pt x="2969079" y="515330"/>
                </a:cubicBezTo>
                <a:cubicBezTo>
                  <a:pt x="2956581" y="515456"/>
                  <a:pt x="2944169" y="513392"/>
                  <a:pt x="2932390" y="509219"/>
                </a:cubicBezTo>
                <a:cubicBezTo>
                  <a:pt x="2922821" y="505699"/>
                  <a:pt x="2913761" y="500852"/>
                  <a:pt x="2905520" y="494825"/>
                </a:cubicBezTo>
                <a:lnTo>
                  <a:pt x="2919872" y="472024"/>
                </a:lnTo>
                <a:cubicBezTo>
                  <a:pt x="2927352" y="476955"/>
                  <a:pt x="2935319" y="481086"/>
                  <a:pt x="2943642" y="484352"/>
                </a:cubicBezTo>
                <a:cubicBezTo>
                  <a:pt x="2951839" y="487513"/>
                  <a:pt x="2960565" y="489157"/>
                  <a:pt x="2969353" y="489199"/>
                </a:cubicBezTo>
                <a:cubicBezTo>
                  <a:pt x="2978435" y="489684"/>
                  <a:pt x="2987433" y="486987"/>
                  <a:pt x="2994745" y="481528"/>
                </a:cubicBezTo>
                <a:cubicBezTo>
                  <a:pt x="3000394" y="476871"/>
                  <a:pt x="3003597" y="469853"/>
                  <a:pt x="3003429" y="462541"/>
                </a:cubicBezTo>
                <a:cubicBezTo>
                  <a:pt x="3003575" y="455039"/>
                  <a:pt x="2999403" y="448085"/>
                  <a:pt x="2992723" y="444671"/>
                </a:cubicBezTo>
                <a:cubicBezTo>
                  <a:pt x="2983851" y="440056"/>
                  <a:pt x="2974453" y="436494"/>
                  <a:pt x="2964716" y="434091"/>
                </a:cubicBezTo>
                <a:cubicBezTo>
                  <a:pt x="2951251" y="430846"/>
                  <a:pt x="2938436" y="425284"/>
                  <a:pt x="2926848" y="417655"/>
                </a:cubicBezTo>
                <a:cubicBezTo>
                  <a:pt x="2915635" y="409268"/>
                  <a:pt x="2909356" y="395781"/>
                  <a:pt x="2910135" y="381809"/>
                </a:cubicBezTo>
                <a:cubicBezTo>
                  <a:pt x="2909692" y="367289"/>
                  <a:pt x="2915467" y="353275"/>
                  <a:pt x="2926025" y="343306"/>
                </a:cubicBezTo>
                <a:cubicBezTo>
                  <a:pt x="2937593" y="333507"/>
                  <a:pt x="2952240" y="328177"/>
                  <a:pt x="2967329" y="328177"/>
                </a:cubicBezTo>
                <a:close/>
                <a:moveTo>
                  <a:pt x="175520" y="167447"/>
                </a:moveTo>
                <a:lnTo>
                  <a:pt x="175520" y="344129"/>
                </a:lnTo>
                <a:lnTo>
                  <a:pt x="375298" y="344129"/>
                </a:lnTo>
                <a:cubicBezTo>
                  <a:pt x="399155" y="344445"/>
                  <a:pt x="422208" y="335299"/>
                  <a:pt x="439383" y="318714"/>
                </a:cubicBezTo>
                <a:cubicBezTo>
                  <a:pt x="456264" y="301939"/>
                  <a:pt x="465663" y="279012"/>
                  <a:pt x="465366" y="255219"/>
                </a:cubicBezTo>
                <a:cubicBezTo>
                  <a:pt x="465705" y="231575"/>
                  <a:pt x="456306" y="208793"/>
                  <a:pt x="439383" y="192273"/>
                </a:cubicBezTo>
                <a:cubicBezTo>
                  <a:pt x="422060" y="175982"/>
                  <a:pt x="399070" y="167068"/>
                  <a:pt x="375298" y="167447"/>
                </a:cubicBezTo>
                <a:close/>
                <a:moveTo>
                  <a:pt x="2340453" y="118368"/>
                </a:moveTo>
                <a:lnTo>
                  <a:pt x="2340453" y="171157"/>
                </a:lnTo>
                <a:lnTo>
                  <a:pt x="2387090" y="171157"/>
                </a:lnTo>
                <a:cubicBezTo>
                  <a:pt x="2394528" y="171283"/>
                  <a:pt x="2401714" y="168522"/>
                  <a:pt x="2407130" y="163445"/>
                </a:cubicBezTo>
                <a:cubicBezTo>
                  <a:pt x="2412188" y="158533"/>
                  <a:pt x="2415033" y="151770"/>
                  <a:pt x="2415033" y="144710"/>
                </a:cubicBezTo>
                <a:cubicBezTo>
                  <a:pt x="2415033" y="137672"/>
                  <a:pt x="2412188" y="130906"/>
                  <a:pt x="2407130" y="125997"/>
                </a:cubicBezTo>
                <a:cubicBezTo>
                  <a:pt x="2401862" y="121107"/>
                  <a:pt x="2394950" y="118388"/>
                  <a:pt x="2387784" y="118368"/>
                </a:cubicBezTo>
                <a:lnTo>
                  <a:pt x="2387448" y="118368"/>
                </a:lnTo>
                <a:cubicBezTo>
                  <a:pt x="2387322" y="118368"/>
                  <a:pt x="2387216" y="118368"/>
                  <a:pt x="2387090" y="118368"/>
                </a:cubicBezTo>
                <a:close/>
                <a:moveTo>
                  <a:pt x="2340453" y="43008"/>
                </a:moveTo>
                <a:lnTo>
                  <a:pt x="2340453" y="93248"/>
                </a:lnTo>
                <a:lnTo>
                  <a:pt x="2382494" y="93248"/>
                </a:lnTo>
                <a:cubicBezTo>
                  <a:pt x="2389386" y="93394"/>
                  <a:pt x="2396088" y="90823"/>
                  <a:pt x="2401103" y="86062"/>
                </a:cubicBezTo>
                <a:cubicBezTo>
                  <a:pt x="2410734" y="76137"/>
                  <a:pt x="2410734" y="60121"/>
                  <a:pt x="2401103" y="50194"/>
                </a:cubicBezTo>
                <a:cubicBezTo>
                  <a:pt x="2396256" y="45579"/>
                  <a:pt x="2389809" y="43008"/>
                  <a:pt x="2383127" y="43008"/>
                </a:cubicBezTo>
                <a:lnTo>
                  <a:pt x="2382811" y="43008"/>
                </a:lnTo>
                <a:cubicBezTo>
                  <a:pt x="2382707" y="43008"/>
                  <a:pt x="2382601" y="43008"/>
                  <a:pt x="2382494" y="43008"/>
                </a:cubicBezTo>
                <a:close/>
                <a:moveTo>
                  <a:pt x="3103717" y="40459"/>
                </a:moveTo>
                <a:cubicBezTo>
                  <a:pt x="3086394" y="40459"/>
                  <a:pt x="3069789" y="47433"/>
                  <a:pt x="3057672" y="59825"/>
                </a:cubicBezTo>
                <a:cubicBezTo>
                  <a:pt x="3032658" y="86146"/>
                  <a:pt x="3032658" y="128019"/>
                  <a:pt x="3057672" y="154340"/>
                </a:cubicBezTo>
                <a:cubicBezTo>
                  <a:pt x="3069725" y="166774"/>
                  <a:pt x="3086332" y="173770"/>
                  <a:pt x="3103653" y="173728"/>
                </a:cubicBezTo>
                <a:cubicBezTo>
                  <a:pt x="3121019" y="173812"/>
                  <a:pt x="3137709" y="166859"/>
                  <a:pt x="3149847" y="154444"/>
                </a:cubicBezTo>
                <a:cubicBezTo>
                  <a:pt x="3174945" y="128103"/>
                  <a:pt x="3174903" y="86124"/>
                  <a:pt x="3149743" y="59825"/>
                </a:cubicBezTo>
                <a:cubicBezTo>
                  <a:pt x="3137645" y="47433"/>
                  <a:pt x="3121041" y="40459"/>
                  <a:pt x="3103717" y="40459"/>
                </a:cubicBezTo>
                <a:close/>
                <a:moveTo>
                  <a:pt x="2572073" y="40459"/>
                </a:moveTo>
                <a:cubicBezTo>
                  <a:pt x="2554751" y="40459"/>
                  <a:pt x="2538145" y="47433"/>
                  <a:pt x="2526027" y="59825"/>
                </a:cubicBezTo>
                <a:cubicBezTo>
                  <a:pt x="2501013" y="86146"/>
                  <a:pt x="2501013" y="128019"/>
                  <a:pt x="2526027" y="154340"/>
                </a:cubicBezTo>
                <a:cubicBezTo>
                  <a:pt x="2538083" y="166774"/>
                  <a:pt x="2554687" y="173770"/>
                  <a:pt x="2572011" y="173728"/>
                </a:cubicBezTo>
                <a:cubicBezTo>
                  <a:pt x="2589374" y="173812"/>
                  <a:pt x="2606065" y="166859"/>
                  <a:pt x="2618204" y="154444"/>
                </a:cubicBezTo>
                <a:cubicBezTo>
                  <a:pt x="2643302" y="128103"/>
                  <a:pt x="2643260" y="86124"/>
                  <a:pt x="2618120" y="59825"/>
                </a:cubicBezTo>
                <a:cubicBezTo>
                  <a:pt x="2606003" y="47433"/>
                  <a:pt x="2589396" y="40459"/>
                  <a:pt x="2572073" y="40459"/>
                </a:cubicBezTo>
                <a:close/>
                <a:moveTo>
                  <a:pt x="3239241" y="17383"/>
                </a:moveTo>
                <a:lnTo>
                  <a:pt x="3274857" y="17383"/>
                </a:lnTo>
                <a:lnTo>
                  <a:pt x="3316772" y="85177"/>
                </a:lnTo>
                <a:lnTo>
                  <a:pt x="3358687" y="152971"/>
                </a:lnTo>
                <a:lnTo>
                  <a:pt x="3358687" y="17383"/>
                </a:lnTo>
                <a:lnTo>
                  <a:pt x="3386356" y="17383"/>
                </a:lnTo>
                <a:lnTo>
                  <a:pt x="3386356" y="196804"/>
                </a:lnTo>
                <a:lnTo>
                  <a:pt x="3352786" y="196804"/>
                </a:lnTo>
                <a:lnTo>
                  <a:pt x="3309838" y="127344"/>
                </a:lnTo>
                <a:lnTo>
                  <a:pt x="3266912" y="57887"/>
                </a:lnTo>
                <a:lnTo>
                  <a:pt x="3266912" y="196804"/>
                </a:lnTo>
                <a:lnTo>
                  <a:pt x="3239241" y="196804"/>
                </a:lnTo>
                <a:close/>
                <a:moveTo>
                  <a:pt x="2849255" y="17383"/>
                </a:moveTo>
                <a:lnTo>
                  <a:pt x="2990995" y="17383"/>
                </a:lnTo>
                <a:lnTo>
                  <a:pt x="2990995" y="44041"/>
                </a:lnTo>
                <a:lnTo>
                  <a:pt x="2934602" y="44041"/>
                </a:lnTo>
                <a:lnTo>
                  <a:pt x="2934602" y="196804"/>
                </a:lnTo>
                <a:lnTo>
                  <a:pt x="2905393" y="196804"/>
                </a:lnTo>
                <a:lnTo>
                  <a:pt x="2905393" y="44041"/>
                </a:lnTo>
                <a:lnTo>
                  <a:pt x="2849255" y="44041"/>
                </a:lnTo>
                <a:close/>
                <a:moveTo>
                  <a:pt x="2311499" y="17383"/>
                </a:moveTo>
                <a:lnTo>
                  <a:pt x="2382727" y="17383"/>
                </a:lnTo>
                <a:cubicBezTo>
                  <a:pt x="2397079" y="17045"/>
                  <a:pt x="2411050" y="21850"/>
                  <a:pt x="2422113" y="30974"/>
                </a:cubicBezTo>
                <a:cubicBezTo>
                  <a:pt x="2432166" y="39532"/>
                  <a:pt x="2437941" y="52112"/>
                  <a:pt x="2437856" y="65325"/>
                </a:cubicBezTo>
                <a:cubicBezTo>
                  <a:pt x="2437918" y="72721"/>
                  <a:pt x="2435916" y="80013"/>
                  <a:pt x="2432124" y="86356"/>
                </a:cubicBezTo>
                <a:cubicBezTo>
                  <a:pt x="2428288" y="92615"/>
                  <a:pt x="2422936" y="97799"/>
                  <a:pt x="2416571" y="101445"/>
                </a:cubicBezTo>
                <a:cubicBezTo>
                  <a:pt x="2424958" y="105408"/>
                  <a:pt x="2432082" y="111583"/>
                  <a:pt x="2437202" y="119295"/>
                </a:cubicBezTo>
                <a:cubicBezTo>
                  <a:pt x="2442197" y="126944"/>
                  <a:pt x="2444810" y="135900"/>
                  <a:pt x="2444768" y="145026"/>
                </a:cubicBezTo>
                <a:cubicBezTo>
                  <a:pt x="2444852" y="158998"/>
                  <a:pt x="2438994" y="172359"/>
                  <a:pt x="2428646" y="181777"/>
                </a:cubicBezTo>
                <a:cubicBezTo>
                  <a:pt x="2417267" y="191788"/>
                  <a:pt x="2402515" y="197162"/>
                  <a:pt x="2387364" y="196804"/>
                </a:cubicBezTo>
                <a:lnTo>
                  <a:pt x="2311499" y="196804"/>
                </a:lnTo>
                <a:close/>
                <a:moveTo>
                  <a:pt x="3103717" y="13721"/>
                </a:moveTo>
                <a:cubicBezTo>
                  <a:pt x="3127963" y="13721"/>
                  <a:pt x="3152208" y="22809"/>
                  <a:pt x="3170646" y="40986"/>
                </a:cubicBezTo>
                <a:cubicBezTo>
                  <a:pt x="3188286" y="58455"/>
                  <a:pt x="3198233" y="82268"/>
                  <a:pt x="3198233" y="107094"/>
                </a:cubicBezTo>
                <a:cubicBezTo>
                  <a:pt x="3198233" y="131917"/>
                  <a:pt x="3188286" y="155730"/>
                  <a:pt x="3170646" y="173179"/>
                </a:cubicBezTo>
                <a:cubicBezTo>
                  <a:pt x="3152840" y="190839"/>
                  <a:pt x="3128731" y="200722"/>
                  <a:pt x="3103653" y="200638"/>
                </a:cubicBezTo>
                <a:cubicBezTo>
                  <a:pt x="3078619" y="200722"/>
                  <a:pt x="3054532" y="190839"/>
                  <a:pt x="3036789" y="173179"/>
                </a:cubicBezTo>
                <a:cubicBezTo>
                  <a:pt x="3019213" y="155688"/>
                  <a:pt x="3009330" y="131875"/>
                  <a:pt x="3009330" y="107094"/>
                </a:cubicBezTo>
                <a:cubicBezTo>
                  <a:pt x="3009330" y="82290"/>
                  <a:pt x="3019213" y="58497"/>
                  <a:pt x="3036789" y="40986"/>
                </a:cubicBezTo>
                <a:cubicBezTo>
                  <a:pt x="3055227" y="22809"/>
                  <a:pt x="3079472" y="13721"/>
                  <a:pt x="3103717" y="13721"/>
                </a:cubicBezTo>
                <a:close/>
                <a:moveTo>
                  <a:pt x="2572074" y="13721"/>
                </a:moveTo>
                <a:cubicBezTo>
                  <a:pt x="2596319" y="13721"/>
                  <a:pt x="2620564" y="22809"/>
                  <a:pt x="2639004" y="40986"/>
                </a:cubicBezTo>
                <a:cubicBezTo>
                  <a:pt x="2656641" y="58455"/>
                  <a:pt x="2666588" y="82268"/>
                  <a:pt x="2666588" y="107094"/>
                </a:cubicBezTo>
                <a:cubicBezTo>
                  <a:pt x="2666588" y="131917"/>
                  <a:pt x="2656641" y="155730"/>
                  <a:pt x="2639004" y="173179"/>
                </a:cubicBezTo>
                <a:cubicBezTo>
                  <a:pt x="2621196" y="190839"/>
                  <a:pt x="2597089" y="200722"/>
                  <a:pt x="2572011" y="200638"/>
                </a:cubicBezTo>
                <a:cubicBezTo>
                  <a:pt x="2546974" y="200722"/>
                  <a:pt x="2522888" y="190839"/>
                  <a:pt x="2505144" y="173179"/>
                </a:cubicBezTo>
                <a:cubicBezTo>
                  <a:pt x="2487568" y="155688"/>
                  <a:pt x="2477685" y="131875"/>
                  <a:pt x="2477685" y="107094"/>
                </a:cubicBezTo>
                <a:cubicBezTo>
                  <a:pt x="2477685" y="82290"/>
                  <a:pt x="2487568" y="58497"/>
                  <a:pt x="2505144" y="40986"/>
                </a:cubicBezTo>
                <a:cubicBezTo>
                  <a:pt x="2523584" y="22809"/>
                  <a:pt x="2547829" y="13721"/>
                  <a:pt x="2572074" y="13721"/>
                </a:cubicBezTo>
                <a:close/>
                <a:moveTo>
                  <a:pt x="2759628" y="13547"/>
                </a:moveTo>
                <a:cubicBezTo>
                  <a:pt x="2769744" y="13505"/>
                  <a:pt x="2779837" y="15065"/>
                  <a:pt x="2789468" y="18162"/>
                </a:cubicBezTo>
                <a:cubicBezTo>
                  <a:pt x="2798214" y="20987"/>
                  <a:pt x="2806475" y="25118"/>
                  <a:pt x="2813955" y="30470"/>
                </a:cubicBezTo>
                <a:lnTo>
                  <a:pt x="2806769" y="41871"/>
                </a:lnTo>
                <a:lnTo>
                  <a:pt x="2799605" y="53271"/>
                </a:lnTo>
                <a:cubicBezTo>
                  <a:pt x="2793346" y="49141"/>
                  <a:pt x="2786623" y="45747"/>
                  <a:pt x="2779585" y="43198"/>
                </a:cubicBezTo>
                <a:cubicBezTo>
                  <a:pt x="2773093" y="40902"/>
                  <a:pt x="2766246" y="39700"/>
                  <a:pt x="2759354" y="39678"/>
                </a:cubicBezTo>
                <a:cubicBezTo>
                  <a:pt x="2750903" y="39174"/>
                  <a:pt x="2742579" y="41829"/>
                  <a:pt x="2735984" y="47119"/>
                </a:cubicBezTo>
                <a:cubicBezTo>
                  <a:pt x="2730926" y="51796"/>
                  <a:pt x="2728143" y="58435"/>
                  <a:pt x="2728355" y="65325"/>
                </a:cubicBezTo>
                <a:cubicBezTo>
                  <a:pt x="2728143" y="72827"/>
                  <a:pt x="2732274" y="79845"/>
                  <a:pt x="2738955" y="83281"/>
                </a:cubicBezTo>
                <a:cubicBezTo>
                  <a:pt x="2747869" y="87874"/>
                  <a:pt x="2757310" y="91394"/>
                  <a:pt x="2767067" y="93775"/>
                </a:cubicBezTo>
                <a:cubicBezTo>
                  <a:pt x="2780512" y="97062"/>
                  <a:pt x="2793282" y="102647"/>
                  <a:pt x="2804831" y="110297"/>
                </a:cubicBezTo>
                <a:cubicBezTo>
                  <a:pt x="2816041" y="118640"/>
                  <a:pt x="2822365" y="132085"/>
                  <a:pt x="2821648" y="146057"/>
                </a:cubicBezTo>
                <a:cubicBezTo>
                  <a:pt x="2822048" y="160874"/>
                  <a:pt x="2815999" y="175140"/>
                  <a:pt x="2805083" y="185171"/>
                </a:cubicBezTo>
                <a:cubicBezTo>
                  <a:pt x="2791977" y="195939"/>
                  <a:pt x="2775306" y="201461"/>
                  <a:pt x="2758343" y="200638"/>
                </a:cubicBezTo>
                <a:cubicBezTo>
                  <a:pt x="2745845" y="200744"/>
                  <a:pt x="2733433" y="198678"/>
                  <a:pt x="2721654" y="194505"/>
                </a:cubicBezTo>
                <a:cubicBezTo>
                  <a:pt x="2712065" y="191007"/>
                  <a:pt x="2703025" y="186162"/>
                  <a:pt x="2694764" y="180133"/>
                </a:cubicBezTo>
                <a:lnTo>
                  <a:pt x="2701950" y="168732"/>
                </a:lnTo>
                <a:lnTo>
                  <a:pt x="2709114" y="157332"/>
                </a:lnTo>
                <a:cubicBezTo>
                  <a:pt x="2716596" y="162263"/>
                  <a:pt x="2724561" y="166394"/>
                  <a:pt x="2732906" y="169659"/>
                </a:cubicBezTo>
                <a:cubicBezTo>
                  <a:pt x="2741104" y="172821"/>
                  <a:pt x="2749807" y="174445"/>
                  <a:pt x="2758595" y="174487"/>
                </a:cubicBezTo>
                <a:cubicBezTo>
                  <a:pt x="2767699" y="174991"/>
                  <a:pt x="2776678" y="172275"/>
                  <a:pt x="2783990" y="166836"/>
                </a:cubicBezTo>
                <a:cubicBezTo>
                  <a:pt x="2789636" y="162159"/>
                  <a:pt x="2792840" y="155161"/>
                  <a:pt x="2792671" y="147849"/>
                </a:cubicBezTo>
                <a:cubicBezTo>
                  <a:pt x="2792820" y="140347"/>
                  <a:pt x="2788667" y="133393"/>
                  <a:pt x="2781987" y="129957"/>
                </a:cubicBezTo>
                <a:cubicBezTo>
                  <a:pt x="2773093" y="125342"/>
                  <a:pt x="2763695" y="121802"/>
                  <a:pt x="2753980" y="119379"/>
                </a:cubicBezTo>
                <a:cubicBezTo>
                  <a:pt x="2740493" y="116156"/>
                  <a:pt x="2727681" y="110592"/>
                  <a:pt x="2716112" y="102963"/>
                </a:cubicBezTo>
                <a:cubicBezTo>
                  <a:pt x="2704899" y="94576"/>
                  <a:pt x="2698598" y="81089"/>
                  <a:pt x="2699399" y="67095"/>
                </a:cubicBezTo>
                <a:cubicBezTo>
                  <a:pt x="2698956" y="52597"/>
                  <a:pt x="2704731" y="38561"/>
                  <a:pt x="2715289" y="28594"/>
                </a:cubicBezTo>
                <a:cubicBezTo>
                  <a:pt x="2727617" y="18162"/>
                  <a:pt x="2743464" y="12768"/>
                  <a:pt x="2759628" y="13547"/>
                </a:cubicBezTo>
                <a:close/>
                <a:moveTo>
                  <a:pt x="969973" y="17"/>
                </a:moveTo>
                <a:cubicBezTo>
                  <a:pt x="1015050" y="-277"/>
                  <a:pt x="1059958" y="5792"/>
                  <a:pt x="1103348" y="18058"/>
                </a:cubicBezTo>
                <a:cubicBezTo>
                  <a:pt x="1143600" y="29500"/>
                  <a:pt x="1181638" y="47603"/>
                  <a:pt x="1215924" y="71606"/>
                </a:cubicBezTo>
                <a:lnTo>
                  <a:pt x="1171459" y="141464"/>
                </a:lnTo>
                <a:lnTo>
                  <a:pt x="1127015" y="211322"/>
                </a:lnTo>
                <a:cubicBezTo>
                  <a:pt x="1105393" y="195034"/>
                  <a:pt x="1081200" y="182494"/>
                  <a:pt x="1055427" y="174232"/>
                </a:cubicBezTo>
                <a:cubicBezTo>
                  <a:pt x="1027758" y="165489"/>
                  <a:pt x="998972" y="160851"/>
                  <a:pt x="969973" y="160515"/>
                </a:cubicBezTo>
                <a:cubicBezTo>
                  <a:pt x="899737" y="161126"/>
                  <a:pt x="832469" y="189279"/>
                  <a:pt x="782756" y="238909"/>
                </a:cubicBezTo>
                <a:cubicBezTo>
                  <a:pt x="733422" y="286724"/>
                  <a:pt x="705543" y="352558"/>
                  <a:pt x="705543" y="421279"/>
                </a:cubicBezTo>
                <a:cubicBezTo>
                  <a:pt x="705543" y="489980"/>
                  <a:pt x="733422" y="555833"/>
                  <a:pt x="782756" y="603649"/>
                </a:cubicBezTo>
                <a:cubicBezTo>
                  <a:pt x="832363" y="653341"/>
                  <a:pt x="899757" y="681286"/>
                  <a:pt x="969973" y="681306"/>
                </a:cubicBezTo>
                <a:cubicBezTo>
                  <a:pt x="1004155" y="681580"/>
                  <a:pt x="1038041" y="674899"/>
                  <a:pt x="1069569" y="661666"/>
                </a:cubicBezTo>
                <a:cubicBezTo>
                  <a:pt x="1101030" y="648031"/>
                  <a:pt x="1129564" y="628433"/>
                  <a:pt x="1153567" y="603945"/>
                </a:cubicBezTo>
                <a:cubicBezTo>
                  <a:pt x="1214197" y="543315"/>
                  <a:pt x="1224880" y="467389"/>
                  <a:pt x="1242773" y="384254"/>
                </a:cubicBezTo>
                <a:cubicBezTo>
                  <a:pt x="1260662" y="301116"/>
                  <a:pt x="1285783" y="210753"/>
                  <a:pt x="1375283" y="121255"/>
                </a:cubicBezTo>
                <a:cubicBezTo>
                  <a:pt x="1413215" y="83152"/>
                  <a:pt x="1458354" y="52977"/>
                  <a:pt x="1508067" y="32492"/>
                </a:cubicBezTo>
                <a:cubicBezTo>
                  <a:pt x="1562352" y="10555"/>
                  <a:pt x="1620411" y="-487"/>
                  <a:pt x="1678975" y="17"/>
                </a:cubicBezTo>
                <a:cubicBezTo>
                  <a:pt x="1724135" y="-193"/>
                  <a:pt x="1769063" y="6276"/>
                  <a:pt x="1812328" y="19217"/>
                </a:cubicBezTo>
                <a:cubicBezTo>
                  <a:pt x="1852557" y="31312"/>
                  <a:pt x="1890573" y="49773"/>
                  <a:pt x="1924924" y="73922"/>
                </a:cubicBezTo>
                <a:lnTo>
                  <a:pt x="1881049" y="143782"/>
                </a:lnTo>
                <a:lnTo>
                  <a:pt x="1837151" y="213640"/>
                </a:lnTo>
                <a:cubicBezTo>
                  <a:pt x="1815047" y="197224"/>
                  <a:pt x="1790495" y="184370"/>
                  <a:pt x="1764406" y="175540"/>
                </a:cubicBezTo>
                <a:cubicBezTo>
                  <a:pt x="1736505" y="166225"/>
                  <a:pt x="1707234" y="161546"/>
                  <a:pt x="1677815" y="161674"/>
                </a:cubicBezTo>
                <a:cubicBezTo>
                  <a:pt x="1609221" y="161652"/>
                  <a:pt x="1543429" y="189237"/>
                  <a:pt x="1495359" y="238170"/>
                </a:cubicBezTo>
                <a:cubicBezTo>
                  <a:pt x="1447353" y="286618"/>
                  <a:pt x="1420359" y="352135"/>
                  <a:pt x="1420317" y="420330"/>
                </a:cubicBezTo>
                <a:cubicBezTo>
                  <a:pt x="1420169" y="489199"/>
                  <a:pt x="1446849" y="555497"/>
                  <a:pt x="1494642" y="605083"/>
                </a:cubicBezTo>
                <a:cubicBezTo>
                  <a:pt x="1541847" y="654438"/>
                  <a:pt x="1607218" y="682401"/>
                  <a:pt x="1675497" y="682465"/>
                </a:cubicBezTo>
                <a:cubicBezTo>
                  <a:pt x="1728076" y="683056"/>
                  <a:pt x="1779263" y="665522"/>
                  <a:pt x="1820419" y="632794"/>
                </a:cubicBezTo>
                <a:cubicBezTo>
                  <a:pt x="1860163" y="600299"/>
                  <a:pt x="1888994" y="556340"/>
                  <a:pt x="1902985" y="506943"/>
                </a:cubicBezTo>
                <a:lnTo>
                  <a:pt x="1651261" y="506943"/>
                </a:lnTo>
                <a:lnTo>
                  <a:pt x="1700911" y="428991"/>
                </a:lnTo>
                <a:lnTo>
                  <a:pt x="1750561" y="351062"/>
                </a:lnTo>
                <a:lnTo>
                  <a:pt x="2077348" y="351062"/>
                </a:lnTo>
                <a:cubicBezTo>
                  <a:pt x="2079076" y="362589"/>
                  <a:pt x="2080510" y="374138"/>
                  <a:pt x="2081521" y="385833"/>
                </a:cubicBezTo>
                <a:cubicBezTo>
                  <a:pt x="2082532" y="397528"/>
                  <a:pt x="2083123" y="409371"/>
                  <a:pt x="2083123" y="421489"/>
                </a:cubicBezTo>
                <a:cubicBezTo>
                  <a:pt x="2083713" y="532421"/>
                  <a:pt x="2040976" y="639327"/>
                  <a:pt x="1964035" y="719261"/>
                </a:cubicBezTo>
                <a:cubicBezTo>
                  <a:pt x="1887286" y="798685"/>
                  <a:pt x="1781327" y="843403"/>
                  <a:pt x="1670881" y="842961"/>
                </a:cubicBezTo>
                <a:cubicBezTo>
                  <a:pt x="1599315" y="843403"/>
                  <a:pt x="1528718" y="826418"/>
                  <a:pt x="1465203" y="793459"/>
                </a:cubicBezTo>
                <a:cubicBezTo>
                  <a:pt x="1405817" y="762439"/>
                  <a:pt x="1355072" y="717152"/>
                  <a:pt x="1317540" y="661666"/>
                </a:cubicBezTo>
                <a:cubicBezTo>
                  <a:pt x="1279187" y="717026"/>
                  <a:pt x="1228104" y="762377"/>
                  <a:pt x="1168571" y="793882"/>
                </a:cubicBezTo>
                <a:cubicBezTo>
                  <a:pt x="1105477" y="826693"/>
                  <a:pt x="1035302" y="843529"/>
                  <a:pt x="964201" y="842961"/>
                </a:cubicBezTo>
                <a:cubicBezTo>
                  <a:pt x="902896" y="843173"/>
                  <a:pt x="842268" y="830275"/>
                  <a:pt x="786360" y="805135"/>
                </a:cubicBezTo>
                <a:cubicBezTo>
                  <a:pt x="733296" y="781132"/>
                  <a:pt x="685713" y="746445"/>
                  <a:pt x="646641" y="703245"/>
                </a:cubicBezTo>
                <a:cubicBezTo>
                  <a:pt x="624683" y="740438"/>
                  <a:pt x="593051" y="771016"/>
                  <a:pt x="555141" y="791709"/>
                </a:cubicBezTo>
                <a:cubicBezTo>
                  <a:pt x="512678" y="814575"/>
                  <a:pt x="465072" y="826250"/>
                  <a:pt x="416856" y="825640"/>
                </a:cubicBezTo>
                <a:lnTo>
                  <a:pt x="0" y="825640"/>
                </a:lnTo>
                <a:lnTo>
                  <a:pt x="0" y="17341"/>
                </a:lnTo>
                <a:lnTo>
                  <a:pt x="377596" y="17341"/>
                </a:lnTo>
                <a:cubicBezTo>
                  <a:pt x="433040" y="16434"/>
                  <a:pt x="487515" y="31903"/>
                  <a:pt x="534216" y="61807"/>
                </a:cubicBezTo>
                <a:cubicBezTo>
                  <a:pt x="575666" y="88591"/>
                  <a:pt x="606793" y="128713"/>
                  <a:pt x="622408" y="175540"/>
                </a:cubicBezTo>
                <a:cubicBezTo>
                  <a:pt x="661120" y="122244"/>
                  <a:pt x="711738" y="78708"/>
                  <a:pt x="770196" y="48382"/>
                </a:cubicBezTo>
                <a:cubicBezTo>
                  <a:pt x="831921" y="16414"/>
                  <a:pt x="900451" y="-171"/>
                  <a:pt x="969973" y="17"/>
                </a:cubicBezTo>
                <a:close/>
              </a:path>
            </a:pathLst>
          </a:custGeom>
          <a:solidFill>
            <a:srgbClr val="FFFFFF"/>
          </a:solidFill>
          <a:ln w="9525" cap="flat">
            <a:noFill/>
            <a:prstDash val="solid"/>
            <a:round/>
          </a:ln>
        </p:spPr>
        <p:txBody>
          <a:bodyPr wrap="square" rtlCol="0" anchor="ctr">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8647200" cy="388800"/>
          </a:xfrm>
        </p:spPr>
        <p:txBody>
          <a:bodyPr/>
          <a:lstStyle>
            <a:lvl1pPr>
              <a:defRPr sz="2800">
                <a:solidFill>
                  <a:schemeClr val="tx2"/>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
        <p:nvSpPr>
          <p:cNvPr id="4" name="Text Placeholder 3">
            <a:extLst>
              <a:ext uri="{FF2B5EF4-FFF2-40B4-BE49-F238E27FC236}">
                <a16:creationId xmlns:a16="http://schemas.microsoft.com/office/drawing/2014/main" xmlns="" id="{F9D8A3B7-A1BE-4885-9155-A25DC2ADE029}"/>
              </a:ext>
            </a:extLst>
          </p:cNvPr>
          <p:cNvSpPr>
            <a:spLocks noGrp="1"/>
          </p:cNvSpPr>
          <p:nvPr>
            <p:ph type="body" sz="quarter" idx="10"/>
          </p:nvPr>
        </p:nvSpPr>
        <p:spPr>
          <a:xfrm>
            <a:off x="629400" y="2085628"/>
            <a:ext cx="8647799" cy="4068409"/>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9669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8647200" cy="332399"/>
          </a:xfrm>
        </p:spPr>
        <p:txBody>
          <a:bodyPr/>
          <a:lstStyle>
            <a:lvl1pPr>
              <a:defRPr>
                <a:solidFill>
                  <a:schemeClr val="accent6"/>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bg>
      <p:bgPr>
        <a:solidFill>
          <a:schemeClr val="bg1"/>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8647200" cy="332399"/>
          </a:xfrm>
        </p:spPr>
        <p:txBody>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
        <p:nvSpPr>
          <p:cNvPr id="4" name="Text Placeholder 3">
            <a:extLst>
              <a:ext uri="{FF2B5EF4-FFF2-40B4-BE49-F238E27FC236}">
                <a16:creationId xmlns:a16="http://schemas.microsoft.com/office/drawing/2014/main" xmlns="" id="{F9D8A3B7-A1BE-4885-9155-A25DC2ADE029}"/>
              </a:ext>
            </a:extLst>
          </p:cNvPr>
          <p:cNvSpPr>
            <a:spLocks noGrp="1"/>
          </p:cNvSpPr>
          <p:nvPr>
            <p:ph type="body" sz="quarter" idx="10"/>
          </p:nvPr>
        </p:nvSpPr>
        <p:spPr>
          <a:xfrm>
            <a:off x="629400" y="2085628"/>
            <a:ext cx="8647799" cy="4057593"/>
          </a:xfrm>
        </p:spPr>
        <p:txBody>
          <a:bodyPr/>
          <a:lstStyle>
            <a:lvl1pPr>
              <a:lnSpc>
                <a:spcPct val="100000"/>
              </a:lnSpc>
              <a:spcBef>
                <a:spcPts val="0"/>
              </a:spcBef>
              <a:spcAft>
                <a:spcPts val="0"/>
              </a:spcAft>
              <a:defRPr sz="12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600"/>
            </a:lvl4pPr>
            <a:lvl5pPr>
              <a:lnSpc>
                <a:spcPct val="100000"/>
              </a:lnSpc>
              <a:spcBef>
                <a:spcPts val="0"/>
              </a:spcBef>
              <a:spcAft>
                <a:spcPts val="0"/>
              </a:spcAft>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693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PanelGray"/>
          <p:cNvSpPr/>
          <p:nvPr userDrawn="1"/>
        </p:nvSpPr>
        <p:spPr bwMode="white">
          <a:xfrm>
            <a:off x="1" y="-1309"/>
            <a:ext cx="3848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8"/>
            <a:ext cx="29576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9"/>
            <a:ext cx="29576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885600" y="2668041"/>
            <a:ext cx="8136000"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Square"/>
          <p:cNvSpPr>
            <a:spLocks noChangeAspect="1"/>
          </p:cNvSpPr>
          <p:nvPr userDrawn="1"/>
        </p:nvSpPr>
        <p:spPr bwMode="white">
          <a:xfrm>
            <a:off x="885600" y="1457803"/>
            <a:ext cx="916726" cy="918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8647200" cy="2041200"/>
          </a:xfrm>
        </p:spPr>
        <p:txBody>
          <a:bodyPr anchor="t">
            <a:noAutofit/>
          </a:bodyPr>
          <a:lstStyle>
            <a:lvl1pPr>
              <a:defRPr sz="4400">
                <a:solidFill>
                  <a:schemeClr val="tx2"/>
                </a:solidFill>
                <a:latin typeface="+mj-lt"/>
                <a:sym typeface="Trebuchet MS" panose="020B0603020202020204" pitchFamily="34" charset="0"/>
              </a:defRPr>
            </a:lvl1pPr>
          </a:lstStyle>
          <a:p>
            <a:r>
              <a:rPr lang="en-US" dirty="0"/>
              <a:t>Click to add section title</a:t>
            </a:r>
          </a:p>
        </p:txBody>
      </p:sp>
      <p:cxnSp>
        <p:nvCxnSpPr>
          <p:cNvPr id="10" name="Line"/>
          <p:cNvCxnSpPr/>
          <p:nvPr userDrawn="1"/>
        </p:nvCxnSpPr>
        <p:spPr bwMode="white">
          <a:xfrm>
            <a:off x="630000" y="3682800"/>
            <a:ext cx="927720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3346050" y="0"/>
            <a:ext cx="417600" cy="6858000"/>
          </a:xfrm>
          <a:prstGeom prst="rect">
            <a:avLst/>
          </a:prstGeom>
        </p:spPr>
      </p:pic>
      <p:sp>
        <p:nvSpPr>
          <p:cNvPr id="65" name="PanelGray"/>
          <p:cNvSpPr/>
          <p:nvPr userDrawn="1"/>
        </p:nvSpPr>
        <p:spPr bwMode="white">
          <a:xfrm>
            <a:off x="0" y="0"/>
            <a:ext cx="33578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Date Placeholder 1"/>
          <p:cNvSpPr>
            <a:spLocks noGrp="1"/>
          </p:cNvSpPr>
          <p:nvPr>
            <p:ph type="dt" sz="half" idx="31"/>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2473200"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1"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5805575" y="0"/>
            <a:ext cx="417600" cy="6858000"/>
          </a:xfrm>
          <a:prstGeom prst="rect">
            <a:avLst/>
          </a:prstGeom>
        </p:spPr>
      </p:pic>
      <p:sp>
        <p:nvSpPr>
          <p:cNvPr id="64" name="PanelWhite"/>
          <p:cNvSpPr/>
          <p:nvPr userDrawn="1"/>
        </p:nvSpPr>
        <p:spPr bwMode="white">
          <a:xfrm>
            <a:off x="1" y="0"/>
            <a:ext cx="581172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494337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913700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62"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280524" y="0"/>
            <a:ext cx="417600" cy="6858000"/>
          </a:xfrm>
          <a:prstGeom prst="rect">
            <a:avLst/>
          </a:prstGeom>
        </p:spPr>
      </p:pic>
      <p:sp>
        <p:nvSpPr>
          <p:cNvPr id="63" name="PanelWhite"/>
          <p:cNvSpPr/>
          <p:nvPr userDrawn="1"/>
        </p:nvSpPr>
        <p:spPr bwMode="white">
          <a:xfrm>
            <a:off x="0" y="0"/>
            <a:ext cx="728667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userDrawn="1">
            <p:ph type="dt" sz="half" idx="10"/>
          </p:nvPr>
        </p:nvSpPr>
        <p:spPr>
          <a:xfrm>
            <a:off x="7912800" y="6405036"/>
            <a:ext cx="1033200"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userDrawn="1">
            <p:ph type="title" hasCustomPrompt="1"/>
          </p:nvPr>
        </p:nvSpPr>
        <p:spPr>
          <a:xfrm>
            <a:off x="630000" y="622800"/>
            <a:ext cx="64266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2942757" y="0"/>
            <a:ext cx="416951" cy="6858000"/>
          </a:xfrm>
          <a:prstGeom prst="rect">
            <a:avLst/>
          </a:prstGeom>
        </p:spPr>
      </p:pic>
      <p:sp>
        <p:nvSpPr>
          <p:cNvPr id="65" name="PanelWhite"/>
          <p:cNvSpPr/>
          <p:nvPr userDrawn="1"/>
        </p:nvSpPr>
        <p:spPr bwMode="white">
          <a:xfrm>
            <a:off x="3360801" y="-1309"/>
            <a:ext cx="6545199"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4" name="Title 4"/>
          <p:cNvSpPr>
            <a:spLocks noGrp="1"/>
          </p:cNvSpPr>
          <p:nvPr>
            <p:ph type="title" hasCustomPrompt="1"/>
          </p:nvPr>
        </p:nvSpPr>
        <p:spPr>
          <a:xfrm>
            <a:off x="630000" y="2681103"/>
            <a:ext cx="2473200"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4543959" y="0"/>
            <a:ext cx="417600" cy="6858000"/>
          </a:xfrm>
          <a:prstGeom prst="rect">
            <a:avLst/>
          </a:prstGeom>
        </p:spPr>
      </p:pic>
      <p:sp>
        <p:nvSpPr>
          <p:cNvPr id="65" name="PanelWhite"/>
          <p:cNvSpPr/>
          <p:nvPr userDrawn="1"/>
        </p:nvSpPr>
        <p:spPr>
          <a:xfrm>
            <a:off x="4953000" y="0"/>
            <a:ext cx="4953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4952400" y="0"/>
            <a:ext cx="4953600"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3" name="Title 1"/>
          <p:cNvSpPr>
            <a:spLocks noGrp="1"/>
          </p:cNvSpPr>
          <p:nvPr>
            <p:ph type="title" hasCustomPrompt="1"/>
          </p:nvPr>
        </p:nvSpPr>
        <p:spPr bwMode="blackWhite">
          <a:xfrm>
            <a:off x="630000" y="1785600"/>
            <a:ext cx="3470400" cy="3286800"/>
          </a:xfrm>
          <a:prstGeom prst="rect">
            <a:avLst/>
          </a:prstGeom>
          <a:noFill/>
        </p:spPr>
        <p:txBody>
          <a:bodyPr wrap="square" lIns="0" tIns="0" rIns="320040" bIns="0"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PanelGray"/>
          <p:cNvSpPr/>
          <p:nvPr userDrawn="1"/>
        </p:nvSpPr>
        <p:spPr bwMode="ltGray">
          <a:xfrm>
            <a:off x="1" y="0"/>
            <a:ext cx="3848672"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7912800" y="6405036"/>
            <a:ext cx="1033200"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
        <p:nvSpPr>
          <p:cNvPr id="9" name="Title 1"/>
          <p:cNvSpPr>
            <a:spLocks noGrp="1"/>
          </p:cNvSpPr>
          <p:nvPr>
            <p:ph type="title" hasCustomPrompt="1"/>
          </p:nvPr>
        </p:nvSpPr>
        <p:spPr bwMode="ltGray">
          <a:xfrm>
            <a:off x="629999" y="1544274"/>
            <a:ext cx="2729599" cy="1495794"/>
          </a:xfrm>
          <a:noFill/>
        </p:spPr>
        <p:txBody>
          <a:bodyPr wrap="square" lIns="0" tIns="0" rIns="320040" bIns="0" anchor="b">
            <a:noAutofit/>
          </a:bodyPr>
          <a:lstStyle>
            <a:lvl1pPr>
              <a:defRPr sz="28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907106" y="0"/>
            <a:ext cx="416951" cy="6858000"/>
          </a:xfrm>
          <a:prstGeom prst="rect">
            <a:avLst/>
          </a:prstGeom>
        </p:spPr>
      </p:pic>
      <p:sp>
        <p:nvSpPr>
          <p:cNvPr id="65" name="PanelWhite"/>
          <p:cNvSpPr/>
          <p:nvPr userDrawn="1"/>
        </p:nvSpPr>
        <p:spPr bwMode="gray">
          <a:xfrm>
            <a:off x="6316800" y="0"/>
            <a:ext cx="3589200"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66" name="Picture Placeholder 5"/>
          <p:cNvSpPr>
            <a:spLocks noGrp="1"/>
          </p:cNvSpPr>
          <p:nvPr>
            <p:ph type="pic" sz="quarter" idx="11" hasCustomPrompt="1"/>
          </p:nvPr>
        </p:nvSpPr>
        <p:spPr>
          <a:xfrm>
            <a:off x="6318000" y="0"/>
            <a:ext cx="3588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3" name="Date Placeholder 2"/>
          <p:cNvSpPr>
            <a:spLocks noGrp="1"/>
          </p:cNvSpPr>
          <p:nvPr>
            <p:ph type="dt" sz="half" idx="12"/>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000" y="1785600"/>
            <a:ext cx="4946400" cy="3286800"/>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5" name="ArrowPanelWhite"/>
          <p:cNvSpPr/>
          <p:nvPr userDrawn="1"/>
        </p:nvSpPr>
        <p:spPr bwMode="ltGray">
          <a:xfrm>
            <a:off x="0" y="0"/>
            <a:ext cx="3357450"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itle 2"/>
          <p:cNvSpPr>
            <a:spLocks noGrp="1"/>
          </p:cNvSpPr>
          <p:nvPr>
            <p:ph type="title" hasCustomPrompt="1"/>
          </p:nvPr>
        </p:nvSpPr>
        <p:spPr>
          <a:xfrm>
            <a:off x="630000" y="2771845"/>
            <a:ext cx="1983600"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403086"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65" name="ArrowPanelWhite"/>
          <p:cNvSpPr/>
          <p:nvPr userDrawn="1"/>
        </p:nvSpPr>
        <p:spPr bwMode="ltGray">
          <a:xfrm>
            <a:off x="0" y="0"/>
            <a:ext cx="3357450"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71845"/>
            <a:ext cx="1983600" cy="1314311"/>
          </a:xfrm>
        </p:spPr>
        <p:txBody>
          <a:bodyPr anchor="ctr" anchorCtr="0">
            <a:noAutofit/>
          </a:bodyPr>
          <a:lstStyle>
            <a:lvl1pPr>
              <a:defRPr sz="2800">
                <a:solidFill>
                  <a:srgbClr val="FFFFFF"/>
                </a:solidFill>
                <a:latin typeface="+mj-lt"/>
              </a:defRPr>
            </a:lvl1pPr>
          </a:lstStyle>
          <a:p>
            <a:r>
              <a:rPr lang="en-US" dirty="0"/>
              <a:t>Click to add title</a:t>
            </a:r>
          </a:p>
        </p:txBody>
      </p:sp>
      <p:sp>
        <p:nvSpPr>
          <p:cNvPr id="14"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1445985"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33572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4" name="ArrowPanelWhite"/>
          <p:cNvSpPr>
            <a:spLocks noChangeArrowheads="1"/>
          </p:cNvSpPr>
          <p:nvPr userDrawn="1"/>
        </p:nvSpPr>
        <p:spPr bwMode="auto">
          <a:xfrm>
            <a:off x="-1" y="0"/>
            <a:ext cx="4461458"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ndParaRPr>
          </a:p>
        </p:txBody>
      </p:sp>
      <p:sp>
        <p:nvSpPr>
          <p:cNvPr id="9"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3214800" cy="3286800"/>
          </a:xfrm>
          <a:prstGeom prst="rect">
            <a:avLst/>
          </a:prstGeom>
        </p:spPr>
        <p:txBody>
          <a:bodyPr anchor="ctr">
            <a:noAutofit/>
          </a:bodyPr>
          <a:lstStyle>
            <a:lvl1pPr>
              <a:defRPr sz="32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619477"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64" name="ArrowPanelWhite"/>
          <p:cNvSpPr>
            <a:spLocks noChangeArrowheads="1"/>
          </p:cNvSpPr>
          <p:nvPr userDrawn="1"/>
        </p:nvSpPr>
        <p:spPr bwMode="auto">
          <a:xfrm>
            <a:off x="-1" y="0"/>
            <a:ext cx="4461458"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ndParaRPr>
          </a:p>
        </p:txBody>
      </p:sp>
      <p:sp>
        <p:nvSpPr>
          <p:cNvPr id="20" name="Title 1"/>
          <p:cNvSpPr>
            <a:spLocks noGrp="1"/>
          </p:cNvSpPr>
          <p:nvPr>
            <p:ph type="title" hasCustomPrompt="1"/>
          </p:nvPr>
        </p:nvSpPr>
        <p:spPr>
          <a:xfrm>
            <a:off x="630000" y="1785600"/>
            <a:ext cx="3214800" cy="3286800"/>
          </a:xfrm>
          <a:prstGeom prst="rect">
            <a:avLst/>
          </a:prstGeom>
        </p:spPr>
        <p:txBody>
          <a:bodyPr anchor="ctr">
            <a:noAutofit/>
          </a:bodyPr>
          <a:lstStyle>
            <a:lvl1pPr>
              <a:defRPr sz="3200" b="0">
                <a:solidFill>
                  <a:srgbClr val="FFFFFF"/>
                </a:solidFill>
                <a:latin typeface="+mj-lt"/>
                <a:sym typeface="Trebuchet MS" panose="020B0603020202020204" pitchFamily="34" charset="0"/>
              </a:defRPr>
            </a:lvl1pPr>
          </a:lstStyle>
          <a:p>
            <a:r>
              <a:rPr lang="en-US" dirty="0"/>
              <a:t>Click to add title</a:t>
            </a:r>
          </a:p>
        </p:txBody>
      </p:sp>
      <p:sp>
        <p:nvSpPr>
          <p:cNvPr id="13"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2611272"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421758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1525518"/>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895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291" y="1589"/>
                        <a:ext cx="1289" cy="1587"/>
                      </a:xfrm>
                      <a:prstGeom prst="rect">
                        <a:avLst/>
                      </a:prstGeom>
                    </p:spPr>
                  </p:pic>
                </p:oleObj>
              </mc:Fallback>
            </mc:AlternateContent>
          </a:graphicData>
        </a:graphic>
      </p:graphicFrame>
      <p:sp>
        <p:nvSpPr>
          <p:cNvPr id="62" name="ArrowPanelWhite"/>
          <p:cNvSpPr/>
          <p:nvPr userDrawn="1"/>
        </p:nvSpPr>
        <p:spPr bwMode="white">
          <a:xfrm>
            <a:off x="2" y="0"/>
            <a:ext cx="5221051"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7912800" y="6405036"/>
            <a:ext cx="1033200"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0"/>
            <a:ext cx="3697150"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254773"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62" name="ArrowPanelWhite"/>
          <p:cNvSpPr/>
          <p:nvPr userDrawn="1"/>
        </p:nvSpPr>
        <p:spPr bwMode="white">
          <a:xfrm>
            <a:off x="2" y="0"/>
            <a:ext cx="5221051"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0"/>
            <a:ext cx="3697150"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2"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3317161"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1230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2" name="ArrowPanelWhite"/>
          <p:cNvSpPr/>
          <p:nvPr userDrawn="1"/>
        </p:nvSpPr>
        <p:spPr bwMode="white">
          <a:xfrm>
            <a:off x="0" y="0"/>
            <a:ext cx="68023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7912800" y="6405036"/>
            <a:ext cx="1033200"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494824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847256"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62" name="ArrowPanelWhite"/>
          <p:cNvSpPr/>
          <p:nvPr userDrawn="1"/>
        </p:nvSpPr>
        <p:spPr bwMode="white">
          <a:xfrm>
            <a:off x="0" y="0"/>
            <a:ext cx="68023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4948249"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2"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Copyright"/>
          <p:cNvSpPr txBox="1"/>
          <p:nvPr userDrawn="1"/>
        </p:nvSpPr>
        <p:spPr>
          <a:xfrm rot="16200000">
            <a:off x="7199335"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919804"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74280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0"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Date Placeholder 4"/>
          <p:cNvSpPr>
            <a:spLocks noGrp="1"/>
          </p:cNvSpPr>
          <p:nvPr>
            <p:ph type="dt" sz="half" idx="10"/>
          </p:nvPr>
        </p:nvSpPr>
        <p:spPr>
          <a:xfrm>
            <a:off x="7912800" y="6405036"/>
            <a:ext cx="1033200"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itle 1"/>
          <p:cNvSpPr>
            <a:spLocks noGrp="1"/>
          </p:cNvSpPr>
          <p:nvPr>
            <p:ph type="title" hasCustomPrompt="1"/>
          </p:nvPr>
        </p:nvSpPr>
        <p:spPr>
          <a:xfrm>
            <a:off x="630000" y="3826333"/>
            <a:ext cx="8647200"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4"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userDrawn="1">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userDrawn="1">
            <p:ph type="title" hasCustomPrompt="1"/>
          </p:nvPr>
        </p:nvSpPr>
        <p:spPr bwMode="blackWhite">
          <a:xfrm>
            <a:off x="885600" y="2668041"/>
            <a:ext cx="8135400"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56" name="Square"/>
          <p:cNvSpPr>
            <a:spLocks noChangeAspect="1"/>
          </p:cNvSpPr>
          <p:nvPr userDrawn="1"/>
        </p:nvSpPr>
        <p:spPr bwMode="white">
          <a:xfrm>
            <a:off x="885600" y="1457803"/>
            <a:ext cx="917155" cy="9180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8647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6" name="Square"/>
          <p:cNvSpPr>
            <a:spLocks noChangeAspect="1"/>
          </p:cNvSpPr>
          <p:nvPr userDrawn="1"/>
        </p:nvSpPr>
        <p:spPr bwMode="white">
          <a:xfrm>
            <a:off x="630000" y="622800"/>
            <a:ext cx="917717"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sp>
        <p:nvSpPr>
          <p:cNvPr id="6"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grpSp>
        <p:nvGrpSpPr>
          <p:cNvPr id="9" name="Bubble"/>
          <p:cNvGrpSpPr/>
          <p:nvPr userDrawn="1"/>
        </p:nvGrpSpPr>
        <p:grpSpPr>
          <a:xfrm>
            <a:off x="1" y="0"/>
            <a:ext cx="9905998" cy="5859885"/>
            <a:chOff x="1" y="0"/>
            <a:chExt cx="9905998" cy="5859885"/>
          </a:xfrm>
        </p:grpSpPr>
        <p:sp>
          <p:nvSpPr>
            <p:cNvPr id="10" name="Rectangle 9"/>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latin typeface="+mn-lt"/>
              </a:endParaRPr>
            </a:p>
          </p:txBody>
        </p:sp>
        <p:sp>
          <p:nvSpPr>
            <p:cNvPr id="11" name="Right Triangle 10"/>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latin typeface="+mn-lt"/>
              </a:endParaRPr>
            </a:p>
          </p:txBody>
        </p:sp>
      </p:grpSp>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1" r="3633" b="23083"/>
          <a:stretch/>
        </p:blipFill>
        <p:spPr>
          <a:xfrm rot="16200000" flipH="1">
            <a:off x="5618810" y="1266443"/>
            <a:ext cx="769257" cy="7805121"/>
          </a:xfrm>
          <a:custGeom>
            <a:avLst/>
            <a:gdLst>
              <a:gd name="connsiteX0" fmla="*/ 0 w 769257"/>
              <a:gd name="connsiteY0" fmla="*/ 1864718 h 7805121"/>
              <a:gd name="connsiteX1" fmla="*/ 0 w 769257"/>
              <a:gd name="connsiteY1" fmla="*/ 3372163 h 7805121"/>
              <a:gd name="connsiteX2" fmla="*/ 119296 w 769257"/>
              <a:gd name="connsiteY2" fmla="*/ 1933159 h 7805121"/>
              <a:gd name="connsiteX3" fmla="*/ 0 w 769257"/>
              <a:gd name="connsiteY3" fmla="*/ 0 h 7805121"/>
              <a:gd name="connsiteX4" fmla="*/ 0 w 769257"/>
              <a:gd name="connsiteY4" fmla="*/ 226161 h 7805121"/>
              <a:gd name="connsiteX5" fmla="*/ 201963 w 769257"/>
              <a:gd name="connsiteY5" fmla="*/ 8910 h 7805121"/>
              <a:gd name="connsiteX6" fmla="*/ 197200 w 769257"/>
              <a:gd name="connsiteY6" fmla="*/ 75585 h 7805121"/>
              <a:gd name="connsiteX7" fmla="*/ 199428 w 769257"/>
              <a:gd name="connsiteY7" fmla="*/ 966566 h 7805121"/>
              <a:gd name="connsiteX8" fmla="*/ 206725 w 769257"/>
              <a:gd name="connsiteY8" fmla="*/ 878542 h 7805121"/>
              <a:gd name="connsiteX9" fmla="*/ 206725 w 769257"/>
              <a:gd name="connsiteY9" fmla="*/ 7805121 h 7805121"/>
              <a:gd name="connsiteX10" fmla="*/ 769257 w 769257"/>
              <a:gd name="connsiteY10" fmla="*/ 7805121 h 7805121"/>
              <a:gd name="connsiteX11" fmla="*/ 769257 w 769257"/>
              <a:gd name="connsiteY11" fmla="*/ 0 h 78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257" h="7805121">
                <a:moveTo>
                  <a:pt x="0" y="1864718"/>
                </a:moveTo>
                <a:lnTo>
                  <a:pt x="0" y="3372163"/>
                </a:lnTo>
                <a:lnTo>
                  <a:pt x="119296" y="1933159"/>
                </a:lnTo>
                <a:close/>
                <a:moveTo>
                  <a:pt x="0" y="0"/>
                </a:moveTo>
                <a:lnTo>
                  <a:pt x="0" y="226161"/>
                </a:lnTo>
                <a:lnTo>
                  <a:pt x="201963" y="8910"/>
                </a:lnTo>
                <a:lnTo>
                  <a:pt x="197200" y="75585"/>
                </a:lnTo>
                <a:lnTo>
                  <a:pt x="199428" y="966566"/>
                </a:lnTo>
                <a:lnTo>
                  <a:pt x="206725" y="878542"/>
                </a:lnTo>
                <a:lnTo>
                  <a:pt x="206725" y="7805121"/>
                </a:lnTo>
                <a:lnTo>
                  <a:pt x="769257" y="7805121"/>
                </a:lnTo>
                <a:lnTo>
                  <a:pt x="769257" y="0"/>
                </a:lnTo>
                <a:close/>
              </a:path>
            </a:pathLst>
          </a:custGeom>
        </p:spPr>
      </p:pic>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Page"/>
          <p:cNvSpPr txBox="1"/>
          <p:nvPr/>
        </p:nvSpPr>
        <p:spPr bwMode="white">
          <a:xfrm>
            <a:off x="8953200" y="6404400"/>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8647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3" name="ArrowPanelWhite"/>
          <p:cNvSpPr/>
          <p:nvPr userDrawn="1"/>
        </p:nvSpPr>
        <p:spPr bwMode="ltGray">
          <a:xfrm>
            <a:off x="0" y="0"/>
            <a:ext cx="3357450"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5" name="Date Placeholder 4"/>
          <p:cNvSpPr>
            <a:spLocks noGrp="1"/>
          </p:cNvSpPr>
          <p:nvPr>
            <p:ph type="dt" sz="half" idx="10"/>
          </p:nvPr>
        </p:nvSpPr>
        <p:spPr>
          <a:xfrm>
            <a:off x="7912800" y="6405036"/>
            <a:ext cx="1033200"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618677" y="2711240"/>
            <a:ext cx="2224800" cy="1435521"/>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dirty="0">
                <a:solidFill>
                  <a:schemeClr val="tx2"/>
                </a:solidFill>
                <a:latin typeface="+mn-lt"/>
                <a:sym typeface="Trebuchet MS" panose="020B0603020202020204" pitchFamily="34" charset="0"/>
              </a:rPr>
              <a:t>Table of contents</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403086"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1588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6" name="Date Placeholder 4"/>
          <p:cNvSpPr>
            <a:spLocks noGrp="1"/>
          </p:cNvSpPr>
          <p:nvPr>
            <p:ph type="dt" sz="half" idx="10"/>
          </p:nvPr>
        </p:nvSpPr>
        <p:spPr>
          <a:xfrm>
            <a:off x="7912800" y="6405036"/>
            <a:ext cx="1033200"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p:bg>
      <p:bgPr>
        <a:solidFill>
          <a:schemeClr val="bg1"/>
        </a:solidFill>
        <a:effectLst/>
      </p:bgPr>
    </p:bg>
    <p:spTree>
      <p:nvGrpSpPr>
        <p:cNvPr id="1" name=""/>
        <p:cNvGrpSpPr/>
        <p:nvPr/>
      </p:nvGrpSpPr>
      <p:grpSpPr>
        <a:xfrm>
          <a:off x="0" y="0"/>
          <a:ext cx="0" cy="0"/>
          <a:chOff x="0" y="0"/>
          <a:chExt cx="0" cy="0"/>
        </a:xfrm>
      </p:grpSpPr>
      <p:sp>
        <p:nvSpPr>
          <p:cNvPr id="6"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7" name="Rectangle 56"/>
          <p:cNvSpPr/>
          <p:nvPr userDrawn="1"/>
        </p:nvSpPr>
        <p:spPr>
          <a:xfrm>
            <a:off x="4100400" y="1559258"/>
            <a:ext cx="5176800" cy="3739485"/>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directors or senior management of the Client and solely for the limited purposes described in the</a:t>
            </a:r>
            <a:r>
              <a:rPr lang="en-US" sz="900" b="0" baseline="0" dirty="0">
                <a:latin typeface="+mn-lt"/>
                <a:sym typeface="Trebuchet MS" panose="020B0603020202020204" pitchFamily="34" charset="0"/>
              </a:rPr>
              <a:t> </a:t>
            </a:r>
            <a:r>
              <a:rPr lang="en-US" sz="900" b="0" dirty="0">
                <a:latin typeface="+mn-lt"/>
                <a:sym typeface="Trebuchet MS" panose="020B0603020202020204" pitchFamily="34" charset="0"/>
              </a:rPr>
              <a:t>presentation. The materials shall not be copied or given to any person or entity other than the Client (“Third Party”) without the prior written consent of BCG. These materials serve only a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he focus for discussion; they are incomplete without the accompanying oral commentary and may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cxnSp>
        <p:nvCxnSpPr>
          <p:cNvPr id="58" name="Line"/>
          <p:cNvCxnSpPr/>
          <p:nvPr userDrawn="1"/>
        </p:nvCxnSpPr>
        <p:spPr>
          <a:xfrm>
            <a:off x="3589200" y="1575000"/>
            <a:ext cx="0" cy="3708000"/>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 name="Title 6"/>
          <p:cNvSpPr txBox="1">
            <a:spLocks/>
          </p:cNvSpPr>
          <p:nvPr/>
        </p:nvSpPr>
        <p:spPr>
          <a:xfrm>
            <a:off x="630000" y="3124301"/>
            <a:ext cx="2728800" cy="6093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400" dirty="0">
                <a:gradFill>
                  <a:gsLst>
                    <a:gs pos="100000">
                      <a:schemeClr val="tx2"/>
                    </a:gs>
                    <a:gs pos="2000">
                      <a:schemeClr val="accent2"/>
                    </a:gs>
                  </a:gsLst>
                  <a:lin ang="2700000" scaled="0"/>
                </a:gradFill>
                <a:latin typeface="+mn-lt"/>
                <a:sym typeface="Trebuchet MS" panose="020B0603020202020204" pitchFamily="34" charset="0"/>
              </a:rPr>
              <a:t>Disclaimer</a:t>
            </a:r>
          </a:p>
        </p:txBody>
      </p:sp>
      <p:sp>
        <p:nvSpPr>
          <p:cNvPr id="9"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l="9375" r="9375"/>
          <a:stretch/>
        </p:blipFill>
        <p:spPr>
          <a:xfrm flipH="1">
            <a:off x="0" y="0"/>
            <a:ext cx="9906000" cy="6858000"/>
          </a:xfrm>
          <a:prstGeom prst="rect">
            <a:avLst/>
          </a:prstGeom>
        </p:spPr>
      </p:pic>
      <p:sp>
        <p:nvSpPr>
          <p:cNvPr id="8" name="PanelGreen"/>
          <p:cNvSpPr>
            <a:spLocks noChangeAspect="1"/>
          </p:cNvSpPr>
          <p:nvPr userDrawn="1"/>
        </p:nvSpPr>
        <p:spPr bwMode="black">
          <a:xfrm>
            <a:off x="629999" y="622800"/>
            <a:ext cx="6427349" cy="5533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0" name="URL"/>
          <p:cNvSpPr txBox="1"/>
          <p:nvPr userDrawn="1"/>
        </p:nvSpPr>
        <p:spPr bwMode="white">
          <a:xfrm>
            <a:off x="885600" y="5715178"/>
            <a:ext cx="68315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6" name="Freeform 5">
            <a:extLst>
              <a:ext uri="{FF2B5EF4-FFF2-40B4-BE49-F238E27FC236}">
                <a16:creationId xmlns:a16="http://schemas.microsoft.com/office/drawing/2014/main" xmlns="" id="{B12DC091-DC3C-4E05-827B-1C699903C407}"/>
              </a:ext>
            </a:extLst>
          </p:cNvPr>
          <p:cNvSpPr>
            <a:spLocks noChangeAspect="1"/>
          </p:cNvSpPr>
          <p:nvPr userDrawn="1">
            <p:custDataLst>
              <p:tags r:id="rId2"/>
            </p:custDataLst>
          </p:nvPr>
        </p:nvSpPr>
        <p:spPr>
          <a:xfrm>
            <a:off x="2234329" y="3052965"/>
            <a:ext cx="3218689" cy="672870"/>
          </a:xfrm>
          <a:custGeom>
            <a:avLst/>
            <a:gdLst>
              <a:gd name="connsiteX0" fmla="*/ 3149701 w 4032385"/>
              <a:gd name="connsiteY0" fmla="*/ 673171 h 842974"/>
              <a:gd name="connsiteX1" fmla="*/ 3149701 w 4032385"/>
              <a:gd name="connsiteY1" fmla="*/ 738035 h 842974"/>
              <a:gd name="connsiteX2" fmla="*/ 3190456 w 4032385"/>
              <a:gd name="connsiteY2" fmla="*/ 738035 h 842974"/>
              <a:gd name="connsiteX3" fmla="*/ 3213869 w 4032385"/>
              <a:gd name="connsiteY3" fmla="*/ 729354 h 842974"/>
              <a:gd name="connsiteX4" fmla="*/ 3213869 w 4032385"/>
              <a:gd name="connsiteY4" fmla="*/ 682023 h 842974"/>
              <a:gd name="connsiteX5" fmla="*/ 3190456 w 4032385"/>
              <a:gd name="connsiteY5" fmla="*/ 673171 h 842974"/>
              <a:gd name="connsiteX6" fmla="*/ 2552665 w 4032385"/>
              <a:gd name="connsiteY6" fmla="*/ 673171 h 842974"/>
              <a:gd name="connsiteX7" fmla="*/ 2552665 w 4032385"/>
              <a:gd name="connsiteY7" fmla="*/ 735465 h 842974"/>
              <a:gd name="connsiteX8" fmla="*/ 2596244 w 4032385"/>
              <a:gd name="connsiteY8" fmla="*/ 735465 h 842974"/>
              <a:gd name="connsiteX9" fmla="*/ 2618835 w 4032385"/>
              <a:gd name="connsiteY9" fmla="*/ 727161 h 842974"/>
              <a:gd name="connsiteX10" fmla="*/ 2627771 w 4032385"/>
              <a:gd name="connsiteY10" fmla="*/ 704444 h 842974"/>
              <a:gd name="connsiteX11" fmla="*/ 2618835 w 4032385"/>
              <a:gd name="connsiteY11" fmla="*/ 681706 h 842974"/>
              <a:gd name="connsiteX12" fmla="*/ 2596244 w 4032385"/>
              <a:gd name="connsiteY12" fmla="*/ 673171 h 842974"/>
              <a:gd name="connsiteX13" fmla="*/ 2785970 w 4032385"/>
              <a:gd name="connsiteY13" fmla="*/ 669841 h 842974"/>
              <a:gd name="connsiteX14" fmla="*/ 2739924 w 4032385"/>
              <a:gd name="connsiteY14" fmla="*/ 689229 h 842974"/>
              <a:gd name="connsiteX15" fmla="*/ 2739924 w 4032385"/>
              <a:gd name="connsiteY15" fmla="*/ 783745 h 842974"/>
              <a:gd name="connsiteX16" fmla="*/ 2785906 w 4032385"/>
              <a:gd name="connsiteY16" fmla="*/ 803132 h 842974"/>
              <a:gd name="connsiteX17" fmla="*/ 2832099 w 4032385"/>
              <a:gd name="connsiteY17" fmla="*/ 783829 h 842974"/>
              <a:gd name="connsiteX18" fmla="*/ 2832015 w 4032385"/>
              <a:gd name="connsiteY18" fmla="*/ 689229 h 842974"/>
              <a:gd name="connsiteX19" fmla="*/ 2785970 w 4032385"/>
              <a:gd name="connsiteY19" fmla="*/ 669841 h 842974"/>
              <a:gd name="connsiteX20" fmla="*/ 3120744 w 4032385"/>
              <a:gd name="connsiteY20" fmla="*/ 646767 h 842974"/>
              <a:gd name="connsiteX21" fmla="*/ 3190456 w 4032385"/>
              <a:gd name="connsiteY21" fmla="*/ 646767 h 842974"/>
              <a:gd name="connsiteX22" fmla="*/ 3235953 w 4032385"/>
              <a:gd name="connsiteY22" fmla="*/ 663688 h 842974"/>
              <a:gd name="connsiteX23" fmla="*/ 3235953 w 4032385"/>
              <a:gd name="connsiteY23" fmla="*/ 746739 h 842974"/>
              <a:gd name="connsiteX24" fmla="*/ 3190456 w 4032385"/>
              <a:gd name="connsiteY24" fmla="*/ 763662 h 842974"/>
              <a:gd name="connsiteX25" fmla="*/ 3149701 w 4032385"/>
              <a:gd name="connsiteY25" fmla="*/ 763662 h 842974"/>
              <a:gd name="connsiteX26" fmla="*/ 3149701 w 4032385"/>
              <a:gd name="connsiteY26" fmla="*/ 826186 h 842974"/>
              <a:gd name="connsiteX27" fmla="*/ 3120744 w 4032385"/>
              <a:gd name="connsiteY27" fmla="*/ 826186 h 842974"/>
              <a:gd name="connsiteX28" fmla="*/ 2919303 w 4032385"/>
              <a:gd name="connsiteY28" fmla="*/ 646767 h 842974"/>
              <a:gd name="connsiteX29" fmla="*/ 2948257 w 4032385"/>
              <a:gd name="connsiteY29" fmla="*/ 646767 h 842974"/>
              <a:gd name="connsiteX30" fmla="*/ 2948257 w 4032385"/>
              <a:gd name="connsiteY30" fmla="*/ 756728 h 842974"/>
              <a:gd name="connsiteX31" fmla="*/ 2960691 w 4032385"/>
              <a:gd name="connsiteY31" fmla="*/ 789855 h 842974"/>
              <a:gd name="connsiteX32" fmla="*/ 3026757 w 4032385"/>
              <a:gd name="connsiteY32" fmla="*/ 789855 h 842974"/>
              <a:gd name="connsiteX33" fmla="*/ 3039233 w 4032385"/>
              <a:gd name="connsiteY33" fmla="*/ 756728 h 842974"/>
              <a:gd name="connsiteX34" fmla="*/ 3039233 w 4032385"/>
              <a:gd name="connsiteY34" fmla="*/ 646767 h 842974"/>
              <a:gd name="connsiteX35" fmla="*/ 3067681 w 4032385"/>
              <a:gd name="connsiteY35" fmla="*/ 646767 h 842974"/>
              <a:gd name="connsiteX36" fmla="*/ 3067681 w 4032385"/>
              <a:gd name="connsiteY36" fmla="*/ 757003 h 842974"/>
              <a:gd name="connsiteX37" fmla="*/ 3046607 w 4032385"/>
              <a:gd name="connsiteY37" fmla="*/ 809285 h 842974"/>
              <a:gd name="connsiteX38" fmla="*/ 2940503 w 4032385"/>
              <a:gd name="connsiteY38" fmla="*/ 809285 h 842974"/>
              <a:gd name="connsiteX39" fmla="*/ 2919303 w 4032385"/>
              <a:gd name="connsiteY39" fmla="*/ 757003 h 842974"/>
              <a:gd name="connsiteX40" fmla="*/ 2523708 w 4032385"/>
              <a:gd name="connsiteY40" fmla="*/ 646767 h 842974"/>
              <a:gd name="connsiteX41" fmla="*/ 2596244 w 4032385"/>
              <a:gd name="connsiteY41" fmla="*/ 646767 h 842974"/>
              <a:gd name="connsiteX42" fmla="*/ 2640900 w 4032385"/>
              <a:gd name="connsiteY42" fmla="*/ 663414 h 842974"/>
              <a:gd name="connsiteX43" fmla="*/ 2646926 w 4032385"/>
              <a:gd name="connsiteY43" fmla="*/ 738816 h 842974"/>
              <a:gd name="connsiteX44" fmla="*/ 2617529 w 4032385"/>
              <a:gd name="connsiteY44" fmla="*/ 758014 h 842974"/>
              <a:gd name="connsiteX45" fmla="*/ 2638919 w 4032385"/>
              <a:gd name="connsiteY45" fmla="*/ 792090 h 842974"/>
              <a:gd name="connsiteX46" fmla="*/ 2660329 w 4032385"/>
              <a:gd name="connsiteY46" fmla="*/ 826186 h 842974"/>
              <a:gd name="connsiteX47" fmla="*/ 2626738 w 4032385"/>
              <a:gd name="connsiteY47" fmla="*/ 826186 h 842974"/>
              <a:gd name="connsiteX48" fmla="*/ 2606888 w 4032385"/>
              <a:gd name="connsiteY48" fmla="*/ 793776 h 842974"/>
              <a:gd name="connsiteX49" fmla="*/ 2587015 w 4032385"/>
              <a:gd name="connsiteY49" fmla="*/ 761344 h 842974"/>
              <a:gd name="connsiteX50" fmla="*/ 2552665 w 4032385"/>
              <a:gd name="connsiteY50" fmla="*/ 761344 h 842974"/>
              <a:gd name="connsiteX51" fmla="*/ 2552665 w 4032385"/>
              <a:gd name="connsiteY51" fmla="*/ 826186 h 842974"/>
              <a:gd name="connsiteX52" fmla="*/ 2523708 w 4032385"/>
              <a:gd name="connsiteY52" fmla="*/ 826186 h 842974"/>
              <a:gd name="connsiteX53" fmla="*/ 2785971 w 4032385"/>
              <a:gd name="connsiteY53" fmla="*/ 643110 h 842974"/>
              <a:gd name="connsiteX54" fmla="*/ 2852899 w 4032385"/>
              <a:gd name="connsiteY54" fmla="*/ 670390 h 842974"/>
              <a:gd name="connsiteX55" fmla="*/ 2880486 w 4032385"/>
              <a:gd name="connsiteY55" fmla="*/ 736498 h 842974"/>
              <a:gd name="connsiteX56" fmla="*/ 2852899 w 4032385"/>
              <a:gd name="connsiteY56" fmla="*/ 802584 h 842974"/>
              <a:gd name="connsiteX57" fmla="*/ 2785906 w 4032385"/>
              <a:gd name="connsiteY57" fmla="*/ 830042 h 842974"/>
              <a:gd name="connsiteX58" fmla="*/ 2719041 w 4032385"/>
              <a:gd name="connsiteY58" fmla="*/ 802584 h 842974"/>
              <a:gd name="connsiteX59" fmla="*/ 2691582 w 4032385"/>
              <a:gd name="connsiteY59" fmla="*/ 736498 h 842974"/>
              <a:gd name="connsiteX60" fmla="*/ 2719041 w 4032385"/>
              <a:gd name="connsiteY60" fmla="*/ 670390 h 842974"/>
              <a:gd name="connsiteX61" fmla="*/ 2785971 w 4032385"/>
              <a:gd name="connsiteY61" fmla="*/ 643110 h 842974"/>
              <a:gd name="connsiteX62" fmla="*/ 2396594 w 4032385"/>
              <a:gd name="connsiteY62" fmla="*/ 642931 h 842974"/>
              <a:gd name="connsiteX63" fmla="*/ 2426982 w 4032385"/>
              <a:gd name="connsiteY63" fmla="*/ 647040 h 842974"/>
              <a:gd name="connsiteX64" fmla="*/ 2452965 w 4032385"/>
              <a:gd name="connsiteY64" fmla="*/ 659600 h 842974"/>
              <a:gd name="connsiteX65" fmla="*/ 2445401 w 4032385"/>
              <a:gd name="connsiteY65" fmla="*/ 671381 h 842974"/>
              <a:gd name="connsiteX66" fmla="*/ 2437856 w 4032385"/>
              <a:gd name="connsiteY66" fmla="*/ 683160 h 842974"/>
              <a:gd name="connsiteX67" fmla="*/ 2418531 w 4032385"/>
              <a:gd name="connsiteY67" fmla="*/ 673045 h 842974"/>
              <a:gd name="connsiteX68" fmla="*/ 2396320 w 4032385"/>
              <a:gd name="connsiteY68" fmla="*/ 669863 h 842974"/>
              <a:gd name="connsiteX69" fmla="*/ 2350611 w 4032385"/>
              <a:gd name="connsiteY69" fmla="*/ 689041 h 842974"/>
              <a:gd name="connsiteX70" fmla="*/ 2332002 w 4032385"/>
              <a:gd name="connsiteY70" fmla="*/ 736498 h 842974"/>
              <a:gd name="connsiteX71" fmla="*/ 2350106 w 4032385"/>
              <a:gd name="connsiteY71" fmla="*/ 784061 h 842974"/>
              <a:gd name="connsiteX72" fmla="*/ 2395309 w 4032385"/>
              <a:gd name="connsiteY72" fmla="*/ 803384 h 842974"/>
              <a:gd name="connsiteX73" fmla="*/ 2435454 w 4032385"/>
              <a:gd name="connsiteY73" fmla="*/ 789161 h 842974"/>
              <a:gd name="connsiteX74" fmla="*/ 2454251 w 4032385"/>
              <a:gd name="connsiteY74" fmla="*/ 753399 h 842974"/>
              <a:gd name="connsiteX75" fmla="*/ 2393265 w 4032385"/>
              <a:gd name="connsiteY75" fmla="*/ 753399 h 842974"/>
              <a:gd name="connsiteX76" fmla="*/ 2401588 w 4032385"/>
              <a:gd name="connsiteY76" fmla="*/ 740332 h 842974"/>
              <a:gd name="connsiteX77" fmla="*/ 2409911 w 4032385"/>
              <a:gd name="connsiteY77" fmla="*/ 727267 h 842974"/>
              <a:gd name="connsiteX78" fmla="*/ 2481690 w 4032385"/>
              <a:gd name="connsiteY78" fmla="*/ 727267 h 842974"/>
              <a:gd name="connsiteX79" fmla="*/ 2482617 w 4032385"/>
              <a:gd name="connsiteY79" fmla="*/ 733000 h 842974"/>
              <a:gd name="connsiteX80" fmla="*/ 2482953 w 4032385"/>
              <a:gd name="connsiteY80" fmla="*/ 740080 h 842974"/>
              <a:gd name="connsiteX81" fmla="*/ 2458507 w 4032385"/>
              <a:gd name="connsiteY81" fmla="*/ 804185 h 842974"/>
              <a:gd name="connsiteX82" fmla="*/ 2395054 w 4032385"/>
              <a:gd name="connsiteY82" fmla="*/ 830042 h 842974"/>
              <a:gd name="connsiteX83" fmla="*/ 2329263 w 4032385"/>
              <a:gd name="connsiteY83" fmla="*/ 802774 h 842974"/>
              <a:gd name="connsiteX84" fmla="*/ 2329938 w 4032385"/>
              <a:gd name="connsiteY84" fmla="*/ 670199 h 842974"/>
              <a:gd name="connsiteX85" fmla="*/ 2396594 w 4032385"/>
              <a:gd name="connsiteY85" fmla="*/ 642931 h 842974"/>
              <a:gd name="connsiteX86" fmla="*/ 175520 w 4032385"/>
              <a:gd name="connsiteY86" fmla="*/ 491918 h 842974"/>
              <a:gd name="connsiteX87" fmla="*/ 175520 w 4032385"/>
              <a:gd name="connsiteY87" fmla="*/ 675531 h 842974"/>
              <a:gd name="connsiteX88" fmla="*/ 414560 w 4032385"/>
              <a:gd name="connsiteY88" fmla="*/ 675531 h 842974"/>
              <a:gd name="connsiteX89" fmla="*/ 482396 w 4032385"/>
              <a:gd name="connsiteY89" fmla="*/ 648832 h 842974"/>
              <a:gd name="connsiteX90" fmla="*/ 510401 w 4032385"/>
              <a:gd name="connsiteY90" fmla="*/ 583146 h 842974"/>
              <a:gd name="connsiteX91" fmla="*/ 482396 w 4032385"/>
              <a:gd name="connsiteY91" fmla="*/ 518049 h 842974"/>
              <a:gd name="connsiteX92" fmla="*/ 414560 w 4032385"/>
              <a:gd name="connsiteY92" fmla="*/ 491918 h 842974"/>
              <a:gd name="connsiteX93" fmla="*/ 2577194 w 4032385"/>
              <a:gd name="connsiteY93" fmla="*/ 355151 h 842974"/>
              <a:gd name="connsiteX94" fmla="*/ 2531149 w 4032385"/>
              <a:gd name="connsiteY94" fmla="*/ 374539 h 842974"/>
              <a:gd name="connsiteX95" fmla="*/ 2531149 w 4032385"/>
              <a:gd name="connsiteY95" fmla="*/ 469052 h 842974"/>
              <a:gd name="connsiteX96" fmla="*/ 2577130 w 4032385"/>
              <a:gd name="connsiteY96" fmla="*/ 488420 h 842974"/>
              <a:gd name="connsiteX97" fmla="*/ 2623324 w 4032385"/>
              <a:gd name="connsiteY97" fmla="*/ 469137 h 842974"/>
              <a:gd name="connsiteX98" fmla="*/ 2623218 w 4032385"/>
              <a:gd name="connsiteY98" fmla="*/ 374539 h 842974"/>
              <a:gd name="connsiteX99" fmla="*/ 2577194 w 4032385"/>
              <a:gd name="connsiteY99" fmla="*/ 355151 h 842974"/>
              <a:gd name="connsiteX100" fmla="*/ 3664168 w 4032385"/>
              <a:gd name="connsiteY100" fmla="*/ 332095 h 842974"/>
              <a:gd name="connsiteX101" fmla="*/ 3699804 w 4032385"/>
              <a:gd name="connsiteY101" fmla="*/ 332095 h 842974"/>
              <a:gd name="connsiteX102" fmla="*/ 3741699 w 4032385"/>
              <a:gd name="connsiteY102" fmla="*/ 399889 h 842974"/>
              <a:gd name="connsiteX103" fmla="*/ 3783614 w 4032385"/>
              <a:gd name="connsiteY103" fmla="*/ 467683 h 842974"/>
              <a:gd name="connsiteX104" fmla="*/ 3783614 w 4032385"/>
              <a:gd name="connsiteY104" fmla="*/ 332095 h 842974"/>
              <a:gd name="connsiteX105" fmla="*/ 3811283 w 4032385"/>
              <a:gd name="connsiteY105" fmla="*/ 332095 h 842974"/>
              <a:gd name="connsiteX106" fmla="*/ 3811283 w 4032385"/>
              <a:gd name="connsiteY106" fmla="*/ 511496 h 842974"/>
              <a:gd name="connsiteX107" fmla="*/ 3777713 w 4032385"/>
              <a:gd name="connsiteY107" fmla="*/ 511496 h 842974"/>
              <a:gd name="connsiteX108" fmla="*/ 3734788 w 4032385"/>
              <a:gd name="connsiteY108" fmla="*/ 442036 h 842974"/>
              <a:gd name="connsiteX109" fmla="*/ 3691839 w 4032385"/>
              <a:gd name="connsiteY109" fmla="*/ 372599 h 842974"/>
              <a:gd name="connsiteX110" fmla="*/ 3691839 w 4032385"/>
              <a:gd name="connsiteY110" fmla="*/ 511496 h 842974"/>
              <a:gd name="connsiteX111" fmla="*/ 3664168 w 4032385"/>
              <a:gd name="connsiteY111" fmla="*/ 511496 h 842974"/>
              <a:gd name="connsiteX112" fmla="*/ 3571276 w 4032385"/>
              <a:gd name="connsiteY112" fmla="*/ 332095 h 842974"/>
              <a:gd name="connsiteX113" fmla="*/ 3600233 w 4032385"/>
              <a:gd name="connsiteY113" fmla="*/ 332095 h 842974"/>
              <a:gd name="connsiteX114" fmla="*/ 3600233 w 4032385"/>
              <a:gd name="connsiteY114" fmla="*/ 511496 h 842974"/>
              <a:gd name="connsiteX115" fmla="*/ 3571276 w 4032385"/>
              <a:gd name="connsiteY115" fmla="*/ 511496 h 842974"/>
              <a:gd name="connsiteX116" fmla="*/ 3385977 w 4032385"/>
              <a:gd name="connsiteY116" fmla="*/ 332095 h 842974"/>
              <a:gd name="connsiteX117" fmla="*/ 3527698 w 4032385"/>
              <a:gd name="connsiteY117" fmla="*/ 332095 h 842974"/>
              <a:gd name="connsiteX118" fmla="*/ 3527698 w 4032385"/>
              <a:gd name="connsiteY118" fmla="*/ 358733 h 842974"/>
              <a:gd name="connsiteX119" fmla="*/ 3471325 w 4032385"/>
              <a:gd name="connsiteY119" fmla="*/ 358733 h 842974"/>
              <a:gd name="connsiteX120" fmla="*/ 3471325 w 4032385"/>
              <a:gd name="connsiteY120" fmla="*/ 511496 h 842974"/>
              <a:gd name="connsiteX121" fmla="*/ 3442096 w 4032385"/>
              <a:gd name="connsiteY121" fmla="*/ 511496 h 842974"/>
              <a:gd name="connsiteX122" fmla="*/ 3442096 w 4032385"/>
              <a:gd name="connsiteY122" fmla="*/ 358733 h 842974"/>
              <a:gd name="connsiteX123" fmla="*/ 3385977 w 4032385"/>
              <a:gd name="connsiteY123" fmla="*/ 358733 h 842974"/>
              <a:gd name="connsiteX124" fmla="*/ 3273572 w 4032385"/>
              <a:gd name="connsiteY124" fmla="*/ 332095 h 842974"/>
              <a:gd name="connsiteX125" fmla="*/ 3302526 w 4032385"/>
              <a:gd name="connsiteY125" fmla="*/ 332095 h 842974"/>
              <a:gd name="connsiteX126" fmla="*/ 3302526 w 4032385"/>
              <a:gd name="connsiteY126" fmla="*/ 484836 h 842974"/>
              <a:gd name="connsiteX127" fmla="*/ 3390951 w 4032385"/>
              <a:gd name="connsiteY127" fmla="*/ 484836 h 842974"/>
              <a:gd name="connsiteX128" fmla="*/ 3390951 w 4032385"/>
              <a:gd name="connsiteY128" fmla="*/ 511496 h 842974"/>
              <a:gd name="connsiteX129" fmla="*/ 3273572 w 4032385"/>
              <a:gd name="connsiteY129" fmla="*/ 511496 h 842974"/>
              <a:gd name="connsiteX130" fmla="*/ 3073730 w 4032385"/>
              <a:gd name="connsiteY130" fmla="*/ 332095 h 842974"/>
              <a:gd name="connsiteX131" fmla="*/ 3102684 w 4032385"/>
              <a:gd name="connsiteY131" fmla="*/ 332095 h 842974"/>
              <a:gd name="connsiteX132" fmla="*/ 3102684 w 4032385"/>
              <a:gd name="connsiteY132" fmla="*/ 442036 h 842974"/>
              <a:gd name="connsiteX133" fmla="*/ 3115118 w 4032385"/>
              <a:gd name="connsiteY133" fmla="*/ 475163 h 842974"/>
              <a:gd name="connsiteX134" fmla="*/ 3181184 w 4032385"/>
              <a:gd name="connsiteY134" fmla="*/ 475163 h 842974"/>
              <a:gd name="connsiteX135" fmla="*/ 3193680 w 4032385"/>
              <a:gd name="connsiteY135" fmla="*/ 442036 h 842974"/>
              <a:gd name="connsiteX136" fmla="*/ 3193680 w 4032385"/>
              <a:gd name="connsiteY136" fmla="*/ 332095 h 842974"/>
              <a:gd name="connsiteX137" fmla="*/ 3222130 w 4032385"/>
              <a:gd name="connsiteY137" fmla="*/ 332095 h 842974"/>
              <a:gd name="connsiteX138" fmla="*/ 3222130 w 4032385"/>
              <a:gd name="connsiteY138" fmla="*/ 442288 h 842974"/>
              <a:gd name="connsiteX139" fmla="*/ 3201056 w 4032385"/>
              <a:gd name="connsiteY139" fmla="*/ 494573 h 842974"/>
              <a:gd name="connsiteX140" fmla="*/ 3094930 w 4032385"/>
              <a:gd name="connsiteY140" fmla="*/ 494573 h 842974"/>
              <a:gd name="connsiteX141" fmla="*/ 3073730 w 4032385"/>
              <a:gd name="connsiteY141" fmla="*/ 442288 h 842974"/>
              <a:gd name="connsiteX142" fmla="*/ 2712886 w 4032385"/>
              <a:gd name="connsiteY142" fmla="*/ 332095 h 842974"/>
              <a:gd name="connsiteX143" fmla="*/ 2748522 w 4032385"/>
              <a:gd name="connsiteY143" fmla="*/ 332095 h 842974"/>
              <a:gd name="connsiteX144" fmla="*/ 2832332 w 4032385"/>
              <a:gd name="connsiteY144" fmla="*/ 467663 h 842974"/>
              <a:gd name="connsiteX145" fmla="*/ 2832332 w 4032385"/>
              <a:gd name="connsiteY145" fmla="*/ 332095 h 842974"/>
              <a:gd name="connsiteX146" fmla="*/ 2860023 w 4032385"/>
              <a:gd name="connsiteY146" fmla="*/ 332095 h 842974"/>
              <a:gd name="connsiteX147" fmla="*/ 2860023 w 4032385"/>
              <a:gd name="connsiteY147" fmla="*/ 511496 h 842974"/>
              <a:gd name="connsiteX148" fmla="*/ 2826431 w 4032385"/>
              <a:gd name="connsiteY148" fmla="*/ 511496 h 842974"/>
              <a:gd name="connsiteX149" fmla="*/ 2740577 w 4032385"/>
              <a:gd name="connsiteY149" fmla="*/ 372579 h 842974"/>
              <a:gd name="connsiteX150" fmla="*/ 2740577 w 4032385"/>
              <a:gd name="connsiteY150" fmla="*/ 511496 h 842974"/>
              <a:gd name="connsiteX151" fmla="*/ 2712886 w 4032385"/>
              <a:gd name="connsiteY151" fmla="*/ 511496 h 842974"/>
              <a:gd name="connsiteX152" fmla="*/ 2577187 w 4032385"/>
              <a:gd name="connsiteY152" fmla="*/ 328418 h 842974"/>
              <a:gd name="connsiteX153" fmla="*/ 2644123 w 4032385"/>
              <a:gd name="connsiteY153" fmla="*/ 355698 h 842974"/>
              <a:gd name="connsiteX154" fmla="*/ 2671710 w 4032385"/>
              <a:gd name="connsiteY154" fmla="*/ 421786 h 842974"/>
              <a:gd name="connsiteX155" fmla="*/ 2644123 w 4032385"/>
              <a:gd name="connsiteY155" fmla="*/ 487872 h 842974"/>
              <a:gd name="connsiteX156" fmla="*/ 2577130 w 4032385"/>
              <a:gd name="connsiteY156" fmla="*/ 515330 h 842974"/>
              <a:gd name="connsiteX157" fmla="*/ 2510263 w 4032385"/>
              <a:gd name="connsiteY157" fmla="*/ 487872 h 842974"/>
              <a:gd name="connsiteX158" fmla="*/ 2482805 w 4032385"/>
              <a:gd name="connsiteY158" fmla="*/ 421786 h 842974"/>
              <a:gd name="connsiteX159" fmla="*/ 2510263 w 4032385"/>
              <a:gd name="connsiteY159" fmla="*/ 355698 h 842974"/>
              <a:gd name="connsiteX160" fmla="*/ 2577187 w 4032385"/>
              <a:gd name="connsiteY160" fmla="*/ 328418 h 842974"/>
              <a:gd name="connsiteX161" fmla="*/ 3945986 w 4032385"/>
              <a:gd name="connsiteY161" fmla="*/ 328239 h 842974"/>
              <a:gd name="connsiteX162" fmla="*/ 3976396 w 4032385"/>
              <a:gd name="connsiteY162" fmla="*/ 332347 h 842974"/>
              <a:gd name="connsiteX163" fmla="*/ 4002359 w 4032385"/>
              <a:gd name="connsiteY163" fmla="*/ 344908 h 842974"/>
              <a:gd name="connsiteX164" fmla="*/ 3994814 w 4032385"/>
              <a:gd name="connsiteY164" fmla="*/ 356689 h 842974"/>
              <a:gd name="connsiteX165" fmla="*/ 3987248 w 4032385"/>
              <a:gd name="connsiteY165" fmla="*/ 368468 h 842974"/>
              <a:gd name="connsiteX166" fmla="*/ 3967944 w 4032385"/>
              <a:gd name="connsiteY166" fmla="*/ 358353 h 842974"/>
              <a:gd name="connsiteX167" fmla="*/ 3945733 w 4032385"/>
              <a:gd name="connsiteY167" fmla="*/ 355171 h 842974"/>
              <a:gd name="connsiteX168" fmla="*/ 3900004 w 4032385"/>
              <a:gd name="connsiteY168" fmla="*/ 374349 h 842974"/>
              <a:gd name="connsiteX169" fmla="*/ 3881395 w 4032385"/>
              <a:gd name="connsiteY169" fmla="*/ 421806 h 842974"/>
              <a:gd name="connsiteX170" fmla="*/ 3899498 w 4032385"/>
              <a:gd name="connsiteY170" fmla="*/ 469369 h 842974"/>
              <a:gd name="connsiteX171" fmla="*/ 3944700 w 4032385"/>
              <a:gd name="connsiteY171" fmla="*/ 488692 h 842974"/>
              <a:gd name="connsiteX172" fmla="*/ 3984845 w 4032385"/>
              <a:gd name="connsiteY172" fmla="*/ 474469 h 842974"/>
              <a:gd name="connsiteX173" fmla="*/ 4003664 w 4032385"/>
              <a:gd name="connsiteY173" fmla="*/ 438707 h 842974"/>
              <a:gd name="connsiteX174" fmla="*/ 3942656 w 4032385"/>
              <a:gd name="connsiteY174" fmla="*/ 438707 h 842974"/>
              <a:gd name="connsiteX175" fmla="*/ 3950981 w 4032385"/>
              <a:gd name="connsiteY175" fmla="*/ 425642 h 842974"/>
              <a:gd name="connsiteX176" fmla="*/ 3959327 w 4032385"/>
              <a:gd name="connsiteY176" fmla="*/ 412575 h 842974"/>
              <a:gd name="connsiteX177" fmla="*/ 4031081 w 4032385"/>
              <a:gd name="connsiteY177" fmla="*/ 412575 h 842974"/>
              <a:gd name="connsiteX178" fmla="*/ 4032008 w 4032385"/>
              <a:gd name="connsiteY178" fmla="*/ 418308 h 842974"/>
              <a:gd name="connsiteX179" fmla="*/ 4032366 w 4032385"/>
              <a:gd name="connsiteY179" fmla="*/ 425388 h 842974"/>
              <a:gd name="connsiteX180" fmla="*/ 4007921 w 4032385"/>
              <a:gd name="connsiteY180" fmla="*/ 489493 h 842974"/>
              <a:gd name="connsiteX181" fmla="*/ 3944448 w 4032385"/>
              <a:gd name="connsiteY181" fmla="*/ 515352 h 842974"/>
              <a:gd name="connsiteX182" fmla="*/ 3878676 w 4032385"/>
              <a:gd name="connsiteY182" fmla="*/ 488082 h 842974"/>
              <a:gd name="connsiteX183" fmla="*/ 3879351 w 4032385"/>
              <a:gd name="connsiteY183" fmla="*/ 355507 h 842974"/>
              <a:gd name="connsiteX184" fmla="*/ 3945986 w 4032385"/>
              <a:gd name="connsiteY184" fmla="*/ 328239 h 842974"/>
              <a:gd name="connsiteX185" fmla="*/ 2397605 w 4032385"/>
              <a:gd name="connsiteY185" fmla="*/ 328239 h 842974"/>
              <a:gd name="connsiteX186" fmla="*/ 2457580 w 4032385"/>
              <a:gd name="connsiteY186" fmla="*/ 348217 h 842974"/>
              <a:gd name="connsiteX187" fmla="*/ 2450142 w 4032385"/>
              <a:gd name="connsiteY187" fmla="*/ 359892 h 842974"/>
              <a:gd name="connsiteX188" fmla="*/ 2442724 w 4032385"/>
              <a:gd name="connsiteY188" fmla="*/ 371545 h 842974"/>
              <a:gd name="connsiteX189" fmla="*/ 2421208 w 4032385"/>
              <a:gd name="connsiteY189" fmla="*/ 359176 h 842974"/>
              <a:gd name="connsiteX190" fmla="*/ 2396068 w 4032385"/>
              <a:gd name="connsiteY190" fmla="*/ 354897 h 842974"/>
              <a:gd name="connsiteX191" fmla="*/ 2350675 w 4032385"/>
              <a:gd name="connsiteY191" fmla="*/ 374223 h 842974"/>
              <a:gd name="connsiteX192" fmla="*/ 2350675 w 4032385"/>
              <a:gd name="connsiteY192" fmla="*/ 469369 h 842974"/>
              <a:gd name="connsiteX193" fmla="*/ 2396068 w 4032385"/>
              <a:gd name="connsiteY193" fmla="*/ 488692 h 842974"/>
              <a:gd name="connsiteX194" fmla="*/ 2421208 w 4032385"/>
              <a:gd name="connsiteY194" fmla="*/ 484394 h 842974"/>
              <a:gd name="connsiteX195" fmla="*/ 2442724 w 4032385"/>
              <a:gd name="connsiteY195" fmla="*/ 472024 h 842974"/>
              <a:gd name="connsiteX196" fmla="*/ 2450142 w 4032385"/>
              <a:gd name="connsiteY196" fmla="*/ 483699 h 842974"/>
              <a:gd name="connsiteX197" fmla="*/ 2457580 w 4032385"/>
              <a:gd name="connsiteY197" fmla="*/ 495352 h 842974"/>
              <a:gd name="connsiteX198" fmla="*/ 2397605 w 4032385"/>
              <a:gd name="connsiteY198" fmla="*/ 515330 h 842974"/>
              <a:gd name="connsiteX199" fmla="*/ 2330086 w 4032385"/>
              <a:gd name="connsiteY199" fmla="*/ 488062 h 842974"/>
              <a:gd name="connsiteX200" fmla="*/ 2302521 w 4032385"/>
              <a:gd name="connsiteY200" fmla="*/ 421786 h 842974"/>
              <a:gd name="connsiteX201" fmla="*/ 2330086 w 4032385"/>
              <a:gd name="connsiteY201" fmla="*/ 355507 h 842974"/>
              <a:gd name="connsiteX202" fmla="*/ 2397605 w 4032385"/>
              <a:gd name="connsiteY202" fmla="*/ 328239 h 842974"/>
              <a:gd name="connsiteX203" fmla="*/ 2967329 w 4032385"/>
              <a:gd name="connsiteY203" fmla="*/ 328177 h 842974"/>
              <a:gd name="connsiteX204" fmla="*/ 2967709 w 4032385"/>
              <a:gd name="connsiteY204" fmla="*/ 328177 h 842974"/>
              <a:gd name="connsiteX205" fmla="*/ 2970364 w 4032385"/>
              <a:gd name="connsiteY205" fmla="*/ 328239 h 842974"/>
              <a:gd name="connsiteX206" fmla="*/ 3000226 w 4032385"/>
              <a:gd name="connsiteY206" fmla="*/ 332854 h 842974"/>
              <a:gd name="connsiteX207" fmla="*/ 3024691 w 4032385"/>
              <a:gd name="connsiteY207" fmla="*/ 345162 h 842974"/>
              <a:gd name="connsiteX208" fmla="*/ 3017527 w 4032385"/>
              <a:gd name="connsiteY208" fmla="*/ 356563 h 842974"/>
              <a:gd name="connsiteX209" fmla="*/ 3010341 w 4032385"/>
              <a:gd name="connsiteY209" fmla="*/ 367963 h 842974"/>
              <a:gd name="connsiteX210" fmla="*/ 2990321 w 4032385"/>
              <a:gd name="connsiteY210" fmla="*/ 357910 h 842974"/>
              <a:gd name="connsiteX211" fmla="*/ 2970112 w 4032385"/>
              <a:gd name="connsiteY211" fmla="*/ 354392 h 842974"/>
              <a:gd name="connsiteX212" fmla="*/ 2946720 w 4032385"/>
              <a:gd name="connsiteY212" fmla="*/ 361808 h 842974"/>
              <a:gd name="connsiteX213" fmla="*/ 2939091 w 4032385"/>
              <a:gd name="connsiteY213" fmla="*/ 380017 h 842974"/>
              <a:gd name="connsiteX214" fmla="*/ 2949691 w 4032385"/>
              <a:gd name="connsiteY214" fmla="*/ 397993 h 842974"/>
              <a:gd name="connsiteX215" fmla="*/ 2977802 w 4032385"/>
              <a:gd name="connsiteY215" fmla="*/ 408445 h 842974"/>
              <a:gd name="connsiteX216" fmla="*/ 3015567 w 4032385"/>
              <a:gd name="connsiteY216" fmla="*/ 424987 h 842974"/>
              <a:gd name="connsiteX217" fmla="*/ 3032384 w 4032385"/>
              <a:gd name="connsiteY217" fmla="*/ 460749 h 842974"/>
              <a:gd name="connsiteX218" fmla="*/ 3015819 w 4032385"/>
              <a:gd name="connsiteY218" fmla="*/ 499863 h 842974"/>
              <a:gd name="connsiteX219" fmla="*/ 2969079 w 4032385"/>
              <a:gd name="connsiteY219" fmla="*/ 515330 h 842974"/>
              <a:gd name="connsiteX220" fmla="*/ 2932390 w 4032385"/>
              <a:gd name="connsiteY220" fmla="*/ 509219 h 842974"/>
              <a:gd name="connsiteX221" fmla="*/ 2905520 w 4032385"/>
              <a:gd name="connsiteY221" fmla="*/ 494825 h 842974"/>
              <a:gd name="connsiteX222" fmla="*/ 2919872 w 4032385"/>
              <a:gd name="connsiteY222" fmla="*/ 472024 h 842974"/>
              <a:gd name="connsiteX223" fmla="*/ 2943642 w 4032385"/>
              <a:gd name="connsiteY223" fmla="*/ 484352 h 842974"/>
              <a:gd name="connsiteX224" fmla="*/ 2969353 w 4032385"/>
              <a:gd name="connsiteY224" fmla="*/ 489199 h 842974"/>
              <a:gd name="connsiteX225" fmla="*/ 2994745 w 4032385"/>
              <a:gd name="connsiteY225" fmla="*/ 481528 h 842974"/>
              <a:gd name="connsiteX226" fmla="*/ 3003429 w 4032385"/>
              <a:gd name="connsiteY226" fmla="*/ 462541 h 842974"/>
              <a:gd name="connsiteX227" fmla="*/ 2992723 w 4032385"/>
              <a:gd name="connsiteY227" fmla="*/ 444671 h 842974"/>
              <a:gd name="connsiteX228" fmla="*/ 2964716 w 4032385"/>
              <a:gd name="connsiteY228" fmla="*/ 434091 h 842974"/>
              <a:gd name="connsiteX229" fmla="*/ 2926848 w 4032385"/>
              <a:gd name="connsiteY229" fmla="*/ 417655 h 842974"/>
              <a:gd name="connsiteX230" fmla="*/ 2910135 w 4032385"/>
              <a:gd name="connsiteY230" fmla="*/ 381809 h 842974"/>
              <a:gd name="connsiteX231" fmla="*/ 2926025 w 4032385"/>
              <a:gd name="connsiteY231" fmla="*/ 343306 h 842974"/>
              <a:gd name="connsiteX232" fmla="*/ 2967329 w 4032385"/>
              <a:gd name="connsiteY232" fmla="*/ 328177 h 842974"/>
              <a:gd name="connsiteX233" fmla="*/ 175520 w 4032385"/>
              <a:gd name="connsiteY233" fmla="*/ 167447 h 842974"/>
              <a:gd name="connsiteX234" fmla="*/ 175520 w 4032385"/>
              <a:gd name="connsiteY234" fmla="*/ 344129 h 842974"/>
              <a:gd name="connsiteX235" fmla="*/ 375298 w 4032385"/>
              <a:gd name="connsiteY235" fmla="*/ 344129 h 842974"/>
              <a:gd name="connsiteX236" fmla="*/ 439383 w 4032385"/>
              <a:gd name="connsiteY236" fmla="*/ 318714 h 842974"/>
              <a:gd name="connsiteX237" fmla="*/ 465366 w 4032385"/>
              <a:gd name="connsiteY237" fmla="*/ 255219 h 842974"/>
              <a:gd name="connsiteX238" fmla="*/ 439383 w 4032385"/>
              <a:gd name="connsiteY238" fmla="*/ 192273 h 842974"/>
              <a:gd name="connsiteX239" fmla="*/ 375298 w 4032385"/>
              <a:gd name="connsiteY239" fmla="*/ 167447 h 842974"/>
              <a:gd name="connsiteX240" fmla="*/ 2340453 w 4032385"/>
              <a:gd name="connsiteY240" fmla="*/ 118368 h 842974"/>
              <a:gd name="connsiteX241" fmla="*/ 2340453 w 4032385"/>
              <a:gd name="connsiteY241" fmla="*/ 171157 h 842974"/>
              <a:gd name="connsiteX242" fmla="*/ 2387090 w 4032385"/>
              <a:gd name="connsiteY242" fmla="*/ 171157 h 842974"/>
              <a:gd name="connsiteX243" fmla="*/ 2407130 w 4032385"/>
              <a:gd name="connsiteY243" fmla="*/ 163445 h 842974"/>
              <a:gd name="connsiteX244" fmla="*/ 2415033 w 4032385"/>
              <a:gd name="connsiteY244" fmla="*/ 144710 h 842974"/>
              <a:gd name="connsiteX245" fmla="*/ 2407130 w 4032385"/>
              <a:gd name="connsiteY245" fmla="*/ 125997 h 842974"/>
              <a:gd name="connsiteX246" fmla="*/ 2387784 w 4032385"/>
              <a:gd name="connsiteY246" fmla="*/ 118368 h 842974"/>
              <a:gd name="connsiteX247" fmla="*/ 2387448 w 4032385"/>
              <a:gd name="connsiteY247" fmla="*/ 118368 h 842974"/>
              <a:gd name="connsiteX248" fmla="*/ 2387090 w 4032385"/>
              <a:gd name="connsiteY248" fmla="*/ 118368 h 842974"/>
              <a:gd name="connsiteX249" fmla="*/ 2340453 w 4032385"/>
              <a:gd name="connsiteY249" fmla="*/ 43008 h 842974"/>
              <a:gd name="connsiteX250" fmla="*/ 2340453 w 4032385"/>
              <a:gd name="connsiteY250" fmla="*/ 93248 h 842974"/>
              <a:gd name="connsiteX251" fmla="*/ 2382494 w 4032385"/>
              <a:gd name="connsiteY251" fmla="*/ 93248 h 842974"/>
              <a:gd name="connsiteX252" fmla="*/ 2401103 w 4032385"/>
              <a:gd name="connsiteY252" fmla="*/ 86062 h 842974"/>
              <a:gd name="connsiteX253" fmla="*/ 2401103 w 4032385"/>
              <a:gd name="connsiteY253" fmla="*/ 50194 h 842974"/>
              <a:gd name="connsiteX254" fmla="*/ 2383127 w 4032385"/>
              <a:gd name="connsiteY254" fmla="*/ 43008 h 842974"/>
              <a:gd name="connsiteX255" fmla="*/ 2382811 w 4032385"/>
              <a:gd name="connsiteY255" fmla="*/ 43008 h 842974"/>
              <a:gd name="connsiteX256" fmla="*/ 2382494 w 4032385"/>
              <a:gd name="connsiteY256" fmla="*/ 43008 h 842974"/>
              <a:gd name="connsiteX257" fmla="*/ 3103717 w 4032385"/>
              <a:gd name="connsiteY257" fmla="*/ 40459 h 842974"/>
              <a:gd name="connsiteX258" fmla="*/ 3057672 w 4032385"/>
              <a:gd name="connsiteY258" fmla="*/ 59825 h 842974"/>
              <a:gd name="connsiteX259" fmla="*/ 3057672 w 4032385"/>
              <a:gd name="connsiteY259" fmla="*/ 154340 h 842974"/>
              <a:gd name="connsiteX260" fmla="*/ 3103653 w 4032385"/>
              <a:gd name="connsiteY260" fmla="*/ 173728 h 842974"/>
              <a:gd name="connsiteX261" fmla="*/ 3149847 w 4032385"/>
              <a:gd name="connsiteY261" fmla="*/ 154444 h 842974"/>
              <a:gd name="connsiteX262" fmla="*/ 3149743 w 4032385"/>
              <a:gd name="connsiteY262" fmla="*/ 59825 h 842974"/>
              <a:gd name="connsiteX263" fmla="*/ 3103717 w 4032385"/>
              <a:gd name="connsiteY263" fmla="*/ 40459 h 842974"/>
              <a:gd name="connsiteX264" fmla="*/ 2572073 w 4032385"/>
              <a:gd name="connsiteY264" fmla="*/ 40459 h 842974"/>
              <a:gd name="connsiteX265" fmla="*/ 2526027 w 4032385"/>
              <a:gd name="connsiteY265" fmla="*/ 59825 h 842974"/>
              <a:gd name="connsiteX266" fmla="*/ 2526027 w 4032385"/>
              <a:gd name="connsiteY266" fmla="*/ 154340 h 842974"/>
              <a:gd name="connsiteX267" fmla="*/ 2572011 w 4032385"/>
              <a:gd name="connsiteY267" fmla="*/ 173728 h 842974"/>
              <a:gd name="connsiteX268" fmla="*/ 2618204 w 4032385"/>
              <a:gd name="connsiteY268" fmla="*/ 154444 h 842974"/>
              <a:gd name="connsiteX269" fmla="*/ 2618120 w 4032385"/>
              <a:gd name="connsiteY269" fmla="*/ 59825 h 842974"/>
              <a:gd name="connsiteX270" fmla="*/ 2572073 w 4032385"/>
              <a:gd name="connsiteY270" fmla="*/ 40459 h 842974"/>
              <a:gd name="connsiteX271" fmla="*/ 3239241 w 4032385"/>
              <a:gd name="connsiteY271" fmla="*/ 17383 h 842974"/>
              <a:gd name="connsiteX272" fmla="*/ 3274857 w 4032385"/>
              <a:gd name="connsiteY272" fmla="*/ 17383 h 842974"/>
              <a:gd name="connsiteX273" fmla="*/ 3316772 w 4032385"/>
              <a:gd name="connsiteY273" fmla="*/ 85177 h 842974"/>
              <a:gd name="connsiteX274" fmla="*/ 3358687 w 4032385"/>
              <a:gd name="connsiteY274" fmla="*/ 152971 h 842974"/>
              <a:gd name="connsiteX275" fmla="*/ 3358687 w 4032385"/>
              <a:gd name="connsiteY275" fmla="*/ 17383 h 842974"/>
              <a:gd name="connsiteX276" fmla="*/ 3386356 w 4032385"/>
              <a:gd name="connsiteY276" fmla="*/ 17383 h 842974"/>
              <a:gd name="connsiteX277" fmla="*/ 3386356 w 4032385"/>
              <a:gd name="connsiteY277" fmla="*/ 196804 h 842974"/>
              <a:gd name="connsiteX278" fmla="*/ 3352786 w 4032385"/>
              <a:gd name="connsiteY278" fmla="*/ 196804 h 842974"/>
              <a:gd name="connsiteX279" fmla="*/ 3309838 w 4032385"/>
              <a:gd name="connsiteY279" fmla="*/ 127344 h 842974"/>
              <a:gd name="connsiteX280" fmla="*/ 3266912 w 4032385"/>
              <a:gd name="connsiteY280" fmla="*/ 57887 h 842974"/>
              <a:gd name="connsiteX281" fmla="*/ 3266912 w 4032385"/>
              <a:gd name="connsiteY281" fmla="*/ 196804 h 842974"/>
              <a:gd name="connsiteX282" fmla="*/ 3239241 w 4032385"/>
              <a:gd name="connsiteY282" fmla="*/ 196804 h 842974"/>
              <a:gd name="connsiteX283" fmla="*/ 2849255 w 4032385"/>
              <a:gd name="connsiteY283" fmla="*/ 17383 h 842974"/>
              <a:gd name="connsiteX284" fmla="*/ 2990995 w 4032385"/>
              <a:gd name="connsiteY284" fmla="*/ 17383 h 842974"/>
              <a:gd name="connsiteX285" fmla="*/ 2990995 w 4032385"/>
              <a:gd name="connsiteY285" fmla="*/ 44041 h 842974"/>
              <a:gd name="connsiteX286" fmla="*/ 2934602 w 4032385"/>
              <a:gd name="connsiteY286" fmla="*/ 44041 h 842974"/>
              <a:gd name="connsiteX287" fmla="*/ 2934602 w 4032385"/>
              <a:gd name="connsiteY287" fmla="*/ 196804 h 842974"/>
              <a:gd name="connsiteX288" fmla="*/ 2905393 w 4032385"/>
              <a:gd name="connsiteY288" fmla="*/ 196804 h 842974"/>
              <a:gd name="connsiteX289" fmla="*/ 2905393 w 4032385"/>
              <a:gd name="connsiteY289" fmla="*/ 44041 h 842974"/>
              <a:gd name="connsiteX290" fmla="*/ 2849255 w 4032385"/>
              <a:gd name="connsiteY290" fmla="*/ 44041 h 842974"/>
              <a:gd name="connsiteX291" fmla="*/ 2311499 w 4032385"/>
              <a:gd name="connsiteY291" fmla="*/ 17383 h 842974"/>
              <a:gd name="connsiteX292" fmla="*/ 2382727 w 4032385"/>
              <a:gd name="connsiteY292" fmla="*/ 17383 h 842974"/>
              <a:gd name="connsiteX293" fmla="*/ 2422113 w 4032385"/>
              <a:gd name="connsiteY293" fmla="*/ 30974 h 842974"/>
              <a:gd name="connsiteX294" fmla="*/ 2437856 w 4032385"/>
              <a:gd name="connsiteY294" fmla="*/ 65325 h 842974"/>
              <a:gd name="connsiteX295" fmla="*/ 2432124 w 4032385"/>
              <a:gd name="connsiteY295" fmla="*/ 86356 h 842974"/>
              <a:gd name="connsiteX296" fmla="*/ 2416571 w 4032385"/>
              <a:gd name="connsiteY296" fmla="*/ 101445 h 842974"/>
              <a:gd name="connsiteX297" fmla="*/ 2437202 w 4032385"/>
              <a:gd name="connsiteY297" fmla="*/ 119295 h 842974"/>
              <a:gd name="connsiteX298" fmla="*/ 2444768 w 4032385"/>
              <a:gd name="connsiteY298" fmla="*/ 145026 h 842974"/>
              <a:gd name="connsiteX299" fmla="*/ 2428646 w 4032385"/>
              <a:gd name="connsiteY299" fmla="*/ 181777 h 842974"/>
              <a:gd name="connsiteX300" fmla="*/ 2387364 w 4032385"/>
              <a:gd name="connsiteY300" fmla="*/ 196804 h 842974"/>
              <a:gd name="connsiteX301" fmla="*/ 2311499 w 4032385"/>
              <a:gd name="connsiteY301" fmla="*/ 196804 h 842974"/>
              <a:gd name="connsiteX302" fmla="*/ 3103717 w 4032385"/>
              <a:gd name="connsiteY302" fmla="*/ 13721 h 842974"/>
              <a:gd name="connsiteX303" fmla="*/ 3170646 w 4032385"/>
              <a:gd name="connsiteY303" fmla="*/ 40986 h 842974"/>
              <a:gd name="connsiteX304" fmla="*/ 3198233 w 4032385"/>
              <a:gd name="connsiteY304" fmla="*/ 107094 h 842974"/>
              <a:gd name="connsiteX305" fmla="*/ 3170646 w 4032385"/>
              <a:gd name="connsiteY305" fmla="*/ 173179 h 842974"/>
              <a:gd name="connsiteX306" fmla="*/ 3103653 w 4032385"/>
              <a:gd name="connsiteY306" fmla="*/ 200638 h 842974"/>
              <a:gd name="connsiteX307" fmla="*/ 3036789 w 4032385"/>
              <a:gd name="connsiteY307" fmla="*/ 173179 h 842974"/>
              <a:gd name="connsiteX308" fmla="*/ 3009330 w 4032385"/>
              <a:gd name="connsiteY308" fmla="*/ 107094 h 842974"/>
              <a:gd name="connsiteX309" fmla="*/ 3036789 w 4032385"/>
              <a:gd name="connsiteY309" fmla="*/ 40986 h 842974"/>
              <a:gd name="connsiteX310" fmla="*/ 3103717 w 4032385"/>
              <a:gd name="connsiteY310" fmla="*/ 13721 h 842974"/>
              <a:gd name="connsiteX311" fmla="*/ 2572074 w 4032385"/>
              <a:gd name="connsiteY311" fmla="*/ 13721 h 842974"/>
              <a:gd name="connsiteX312" fmla="*/ 2639004 w 4032385"/>
              <a:gd name="connsiteY312" fmla="*/ 40986 h 842974"/>
              <a:gd name="connsiteX313" fmla="*/ 2666588 w 4032385"/>
              <a:gd name="connsiteY313" fmla="*/ 107094 h 842974"/>
              <a:gd name="connsiteX314" fmla="*/ 2639004 w 4032385"/>
              <a:gd name="connsiteY314" fmla="*/ 173179 h 842974"/>
              <a:gd name="connsiteX315" fmla="*/ 2572011 w 4032385"/>
              <a:gd name="connsiteY315" fmla="*/ 200638 h 842974"/>
              <a:gd name="connsiteX316" fmla="*/ 2505144 w 4032385"/>
              <a:gd name="connsiteY316" fmla="*/ 173179 h 842974"/>
              <a:gd name="connsiteX317" fmla="*/ 2477685 w 4032385"/>
              <a:gd name="connsiteY317" fmla="*/ 107094 h 842974"/>
              <a:gd name="connsiteX318" fmla="*/ 2505144 w 4032385"/>
              <a:gd name="connsiteY318" fmla="*/ 40986 h 842974"/>
              <a:gd name="connsiteX319" fmla="*/ 2572074 w 4032385"/>
              <a:gd name="connsiteY319" fmla="*/ 13721 h 842974"/>
              <a:gd name="connsiteX320" fmla="*/ 2759628 w 4032385"/>
              <a:gd name="connsiteY320" fmla="*/ 13547 h 842974"/>
              <a:gd name="connsiteX321" fmla="*/ 2789468 w 4032385"/>
              <a:gd name="connsiteY321" fmla="*/ 18162 h 842974"/>
              <a:gd name="connsiteX322" fmla="*/ 2813955 w 4032385"/>
              <a:gd name="connsiteY322" fmla="*/ 30470 h 842974"/>
              <a:gd name="connsiteX323" fmla="*/ 2806769 w 4032385"/>
              <a:gd name="connsiteY323" fmla="*/ 41871 h 842974"/>
              <a:gd name="connsiteX324" fmla="*/ 2799605 w 4032385"/>
              <a:gd name="connsiteY324" fmla="*/ 53271 h 842974"/>
              <a:gd name="connsiteX325" fmla="*/ 2779585 w 4032385"/>
              <a:gd name="connsiteY325" fmla="*/ 43198 h 842974"/>
              <a:gd name="connsiteX326" fmla="*/ 2759354 w 4032385"/>
              <a:gd name="connsiteY326" fmla="*/ 39678 h 842974"/>
              <a:gd name="connsiteX327" fmla="*/ 2735984 w 4032385"/>
              <a:gd name="connsiteY327" fmla="*/ 47119 h 842974"/>
              <a:gd name="connsiteX328" fmla="*/ 2728355 w 4032385"/>
              <a:gd name="connsiteY328" fmla="*/ 65325 h 842974"/>
              <a:gd name="connsiteX329" fmla="*/ 2738955 w 4032385"/>
              <a:gd name="connsiteY329" fmla="*/ 83281 h 842974"/>
              <a:gd name="connsiteX330" fmla="*/ 2767067 w 4032385"/>
              <a:gd name="connsiteY330" fmla="*/ 93775 h 842974"/>
              <a:gd name="connsiteX331" fmla="*/ 2804831 w 4032385"/>
              <a:gd name="connsiteY331" fmla="*/ 110297 h 842974"/>
              <a:gd name="connsiteX332" fmla="*/ 2821648 w 4032385"/>
              <a:gd name="connsiteY332" fmla="*/ 146057 h 842974"/>
              <a:gd name="connsiteX333" fmla="*/ 2805083 w 4032385"/>
              <a:gd name="connsiteY333" fmla="*/ 185171 h 842974"/>
              <a:gd name="connsiteX334" fmla="*/ 2758343 w 4032385"/>
              <a:gd name="connsiteY334" fmla="*/ 200638 h 842974"/>
              <a:gd name="connsiteX335" fmla="*/ 2721654 w 4032385"/>
              <a:gd name="connsiteY335" fmla="*/ 194505 h 842974"/>
              <a:gd name="connsiteX336" fmla="*/ 2694764 w 4032385"/>
              <a:gd name="connsiteY336" fmla="*/ 180133 h 842974"/>
              <a:gd name="connsiteX337" fmla="*/ 2701950 w 4032385"/>
              <a:gd name="connsiteY337" fmla="*/ 168732 h 842974"/>
              <a:gd name="connsiteX338" fmla="*/ 2709114 w 4032385"/>
              <a:gd name="connsiteY338" fmla="*/ 157332 h 842974"/>
              <a:gd name="connsiteX339" fmla="*/ 2732906 w 4032385"/>
              <a:gd name="connsiteY339" fmla="*/ 169659 h 842974"/>
              <a:gd name="connsiteX340" fmla="*/ 2758595 w 4032385"/>
              <a:gd name="connsiteY340" fmla="*/ 174487 h 842974"/>
              <a:gd name="connsiteX341" fmla="*/ 2783990 w 4032385"/>
              <a:gd name="connsiteY341" fmla="*/ 166836 h 842974"/>
              <a:gd name="connsiteX342" fmla="*/ 2792671 w 4032385"/>
              <a:gd name="connsiteY342" fmla="*/ 147849 h 842974"/>
              <a:gd name="connsiteX343" fmla="*/ 2781987 w 4032385"/>
              <a:gd name="connsiteY343" fmla="*/ 129957 h 842974"/>
              <a:gd name="connsiteX344" fmla="*/ 2753980 w 4032385"/>
              <a:gd name="connsiteY344" fmla="*/ 119379 h 842974"/>
              <a:gd name="connsiteX345" fmla="*/ 2716112 w 4032385"/>
              <a:gd name="connsiteY345" fmla="*/ 102963 h 842974"/>
              <a:gd name="connsiteX346" fmla="*/ 2699399 w 4032385"/>
              <a:gd name="connsiteY346" fmla="*/ 67095 h 842974"/>
              <a:gd name="connsiteX347" fmla="*/ 2715289 w 4032385"/>
              <a:gd name="connsiteY347" fmla="*/ 28594 h 842974"/>
              <a:gd name="connsiteX348" fmla="*/ 2759628 w 4032385"/>
              <a:gd name="connsiteY348" fmla="*/ 13547 h 842974"/>
              <a:gd name="connsiteX349" fmla="*/ 969973 w 4032385"/>
              <a:gd name="connsiteY349" fmla="*/ 17 h 842974"/>
              <a:gd name="connsiteX350" fmla="*/ 1103348 w 4032385"/>
              <a:gd name="connsiteY350" fmla="*/ 18058 h 842974"/>
              <a:gd name="connsiteX351" fmla="*/ 1215924 w 4032385"/>
              <a:gd name="connsiteY351" fmla="*/ 71606 h 842974"/>
              <a:gd name="connsiteX352" fmla="*/ 1171459 w 4032385"/>
              <a:gd name="connsiteY352" fmla="*/ 141464 h 842974"/>
              <a:gd name="connsiteX353" fmla="*/ 1127015 w 4032385"/>
              <a:gd name="connsiteY353" fmla="*/ 211322 h 842974"/>
              <a:gd name="connsiteX354" fmla="*/ 1055427 w 4032385"/>
              <a:gd name="connsiteY354" fmla="*/ 174232 h 842974"/>
              <a:gd name="connsiteX355" fmla="*/ 969973 w 4032385"/>
              <a:gd name="connsiteY355" fmla="*/ 160515 h 842974"/>
              <a:gd name="connsiteX356" fmla="*/ 782756 w 4032385"/>
              <a:gd name="connsiteY356" fmla="*/ 238909 h 842974"/>
              <a:gd name="connsiteX357" fmla="*/ 705543 w 4032385"/>
              <a:gd name="connsiteY357" fmla="*/ 421279 h 842974"/>
              <a:gd name="connsiteX358" fmla="*/ 782756 w 4032385"/>
              <a:gd name="connsiteY358" fmla="*/ 603649 h 842974"/>
              <a:gd name="connsiteX359" fmla="*/ 969973 w 4032385"/>
              <a:gd name="connsiteY359" fmla="*/ 681306 h 842974"/>
              <a:gd name="connsiteX360" fmla="*/ 1069569 w 4032385"/>
              <a:gd name="connsiteY360" fmla="*/ 661666 h 842974"/>
              <a:gd name="connsiteX361" fmla="*/ 1153567 w 4032385"/>
              <a:gd name="connsiteY361" fmla="*/ 603945 h 842974"/>
              <a:gd name="connsiteX362" fmla="*/ 1242773 w 4032385"/>
              <a:gd name="connsiteY362" fmla="*/ 384254 h 842974"/>
              <a:gd name="connsiteX363" fmla="*/ 1375283 w 4032385"/>
              <a:gd name="connsiteY363" fmla="*/ 121255 h 842974"/>
              <a:gd name="connsiteX364" fmla="*/ 1508067 w 4032385"/>
              <a:gd name="connsiteY364" fmla="*/ 32492 h 842974"/>
              <a:gd name="connsiteX365" fmla="*/ 1678975 w 4032385"/>
              <a:gd name="connsiteY365" fmla="*/ 17 h 842974"/>
              <a:gd name="connsiteX366" fmla="*/ 1812328 w 4032385"/>
              <a:gd name="connsiteY366" fmla="*/ 19217 h 842974"/>
              <a:gd name="connsiteX367" fmla="*/ 1924924 w 4032385"/>
              <a:gd name="connsiteY367" fmla="*/ 73922 h 842974"/>
              <a:gd name="connsiteX368" fmla="*/ 1881049 w 4032385"/>
              <a:gd name="connsiteY368" fmla="*/ 143782 h 842974"/>
              <a:gd name="connsiteX369" fmla="*/ 1837151 w 4032385"/>
              <a:gd name="connsiteY369" fmla="*/ 213640 h 842974"/>
              <a:gd name="connsiteX370" fmla="*/ 1764406 w 4032385"/>
              <a:gd name="connsiteY370" fmla="*/ 175540 h 842974"/>
              <a:gd name="connsiteX371" fmla="*/ 1677815 w 4032385"/>
              <a:gd name="connsiteY371" fmla="*/ 161674 h 842974"/>
              <a:gd name="connsiteX372" fmla="*/ 1495359 w 4032385"/>
              <a:gd name="connsiteY372" fmla="*/ 238170 h 842974"/>
              <a:gd name="connsiteX373" fmla="*/ 1420317 w 4032385"/>
              <a:gd name="connsiteY373" fmla="*/ 420330 h 842974"/>
              <a:gd name="connsiteX374" fmla="*/ 1494642 w 4032385"/>
              <a:gd name="connsiteY374" fmla="*/ 605083 h 842974"/>
              <a:gd name="connsiteX375" fmla="*/ 1675497 w 4032385"/>
              <a:gd name="connsiteY375" fmla="*/ 682465 h 842974"/>
              <a:gd name="connsiteX376" fmla="*/ 1820419 w 4032385"/>
              <a:gd name="connsiteY376" fmla="*/ 632794 h 842974"/>
              <a:gd name="connsiteX377" fmla="*/ 1902985 w 4032385"/>
              <a:gd name="connsiteY377" fmla="*/ 506943 h 842974"/>
              <a:gd name="connsiteX378" fmla="*/ 1651261 w 4032385"/>
              <a:gd name="connsiteY378" fmla="*/ 506943 h 842974"/>
              <a:gd name="connsiteX379" fmla="*/ 1700911 w 4032385"/>
              <a:gd name="connsiteY379" fmla="*/ 428991 h 842974"/>
              <a:gd name="connsiteX380" fmla="*/ 1750561 w 4032385"/>
              <a:gd name="connsiteY380" fmla="*/ 351062 h 842974"/>
              <a:gd name="connsiteX381" fmla="*/ 2077348 w 4032385"/>
              <a:gd name="connsiteY381" fmla="*/ 351062 h 842974"/>
              <a:gd name="connsiteX382" fmla="*/ 2081521 w 4032385"/>
              <a:gd name="connsiteY382" fmla="*/ 385833 h 842974"/>
              <a:gd name="connsiteX383" fmla="*/ 2083123 w 4032385"/>
              <a:gd name="connsiteY383" fmla="*/ 421489 h 842974"/>
              <a:gd name="connsiteX384" fmla="*/ 1964035 w 4032385"/>
              <a:gd name="connsiteY384" fmla="*/ 719261 h 842974"/>
              <a:gd name="connsiteX385" fmla="*/ 1670881 w 4032385"/>
              <a:gd name="connsiteY385" fmla="*/ 842961 h 842974"/>
              <a:gd name="connsiteX386" fmla="*/ 1465203 w 4032385"/>
              <a:gd name="connsiteY386" fmla="*/ 793459 h 842974"/>
              <a:gd name="connsiteX387" fmla="*/ 1317540 w 4032385"/>
              <a:gd name="connsiteY387" fmla="*/ 661666 h 842974"/>
              <a:gd name="connsiteX388" fmla="*/ 1168571 w 4032385"/>
              <a:gd name="connsiteY388" fmla="*/ 793882 h 842974"/>
              <a:gd name="connsiteX389" fmla="*/ 964201 w 4032385"/>
              <a:gd name="connsiteY389" fmla="*/ 842961 h 842974"/>
              <a:gd name="connsiteX390" fmla="*/ 786360 w 4032385"/>
              <a:gd name="connsiteY390" fmla="*/ 805135 h 842974"/>
              <a:gd name="connsiteX391" fmla="*/ 646641 w 4032385"/>
              <a:gd name="connsiteY391" fmla="*/ 703245 h 842974"/>
              <a:gd name="connsiteX392" fmla="*/ 555141 w 4032385"/>
              <a:gd name="connsiteY392" fmla="*/ 791709 h 842974"/>
              <a:gd name="connsiteX393" fmla="*/ 416856 w 4032385"/>
              <a:gd name="connsiteY393" fmla="*/ 825640 h 842974"/>
              <a:gd name="connsiteX394" fmla="*/ 0 w 4032385"/>
              <a:gd name="connsiteY394" fmla="*/ 825640 h 842974"/>
              <a:gd name="connsiteX395" fmla="*/ 0 w 4032385"/>
              <a:gd name="connsiteY395" fmla="*/ 17341 h 842974"/>
              <a:gd name="connsiteX396" fmla="*/ 377596 w 4032385"/>
              <a:gd name="connsiteY396" fmla="*/ 17341 h 842974"/>
              <a:gd name="connsiteX397" fmla="*/ 534216 w 4032385"/>
              <a:gd name="connsiteY397" fmla="*/ 61807 h 842974"/>
              <a:gd name="connsiteX398" fmla="*/ 622408 w 4032385"/>
              <a:gd name="connsiteY398" fmla="*/ 175540 h 842974"/>
              <a:gd name="connsiteX399" fmla="*/ 770196 w 4032385"/>
              <a:gd name="connsiteY399" fmla="*/ 48382 h 842974"/>
              <a:gd name="connsiteX400" fmla="*/ 969973 w 4032385"/>
              <a:gd name="connsiteY400" fmla="*/ 17 h 84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4032385" h="842974">
                <a:moveTo>
                  <a:pt x="3149701" y="673171"/>
                </a:moveTo>
                <a:lnTo>
                  <a:pt x="3149701" y="738035"/>
                </a:lnTo>
                <a:lnTo>
                  <a:pt x="3190456" y="738035"/>
                </a:lnTo>
                <a:cubicBezTo>
                  <a:pt x="3199096" y="738290"/>
                  <a:pt x="3207483" y="735170"/>
                  <a:pt x="3213869" y="729354"/>
                </a:cubicBezTo>
                <a:cubicBezTo>
                  <a:pt x="3226322" y="716119"/>
                  <a:pt x="3226322" y="695236"/>
                  <a:pt x="3213869" y="682023"/>
                </a:cubicBezTo>
                <a:cubicBezTo>
                  <a:pt x="3207525" y="676142"/>
                  <a:pt x="3199118" y="672961"/>
                  <a:pt x="3190456" y="673171"/>
                </a:cubicBezTo>
                <a:close/>
                <a:moveTo>
                  <a:pt x="2552665" y="673171"/>
                </a:moveTo>
                <a:lnTo>
                  <a:pt x="2552665" y="735465"/>
                </a:lnTo>
                <a:lnTo>
                  <a:pt x="2596244" y="735465"/>
                </a:lnTo>
                <a:cubicBezTo>
                  <a:pt x="2604569" y="735719"/>
                  <a:pt x="2612662" y="732745"/>
                  <a:pt x="2618835" y="727161"/>
                </a:cubicBezTo>
                <a:cubicBezTo>
                  <a:pt x="2624842" y="721177"/>
                  <a:pt x="2628087" y="712937"/>
                  <a:pt x="2627771" y="704444"/>
                </a:cubicBezTo>
                <a:cubicBezTo>
                  <a:pt x="2628045" y="695952"/>
                  <a:pt x="2624800" y="687733"/>
                  <a:pt x="2618835" y="681706"/>
                </a:cubicBezTo>
                <a:cubicBezTo>
                  <a:pt x="2612724" y="676016"/>
                  <a:pt x="2604589" y="672941"/>
                  <a:pt x="2596244" y="673171"/>
                </a:cubicBezTo>
                <a:close/>
                <a:moveTo>
                  <a:pt x="2785970" y="669841"/>
                </a:moveTo>
                <a:cubicBezTo>
                  <a:pt x="2768646" y="669841"/>
                  <a:pt x="2752042" y="676839"/>
                  <a:pt x="2739924" y="689229"/>
                </a:cubicBezTo>
                <a:cubicBezTo>
                  <a:pt x="2714910" y="715550"/>
                  <a:pt x="2714910" y="757423"/>
                  <a:pt x="2739924" y="783745"/>
                </a:cubicBezTo>
                <a:cubicBezTo>
                  <a:pt x="2751978" y="796179"/>
                  <a:pt x="2768584" y="803174"/>
                  <a:pt x="2785906" y="803132"/>
                </a:cubicBezTo>
                <a:cubicBezTo>
                  <a:pt x="2803271" y="803216"/>
                  <a:pt x="2819962" y="796240"/>
                  <a:pt x="2832099" y="783829"/>
                </a:cubicBezTo>
                <a:cubicBezTo>
                  <a:pt x="2857200" y="757487"/>
                  <a:pt x="2857158" y="715530"/>
                  <a:pt x="2832015" y="689229"/>
                </a:cubicBezTo>
                <a:cubicBezTo>
                  <a:pt x="2819898" y="676839"/>
                  <a:pt x="2803293" y="669841"/>
                  <a:pt x="2785970" y="669841"/>
                </a:cubicBezTo>
                <a:close/>
                <a:moveTo>
                  <a:pt x="3120744" y="646767"/>
                </a:moveTo>
                <a:lnTo>
                  <a:pt x="3190456" y="646767"/>
                </a:lnTo>
                <a:cubicBezTo>
                  <a:pt x="3207251" y="646239"/>
                  <a:pt x="3223583" y="652310"/>
                  <a:pt x="3235953" y="663688"/>
                </a:cubicBezTo>
                <a:cubicBezTo>
                  <a:pt x="3258525" y="686554"/>
                  <a:pt x="3258525" y="723874"/>
                  <a:pt x="3235953" y="746739"/>
                </a:cubicBezTo>
                <a:cubicBezTo>
                  <a:pt x="3223583" y="758120"/>
                  <a:pt x="3207251" y="764189"/>
                  <a:pt x="3190456" y="763662"/>
                </a:cubicBezTo>
                <a:lnTo>
                  <a:pt x="3149701" y="763662"/>
                </a:lnTo>
                <a:lnTo>
                  <a:pt x="3149701" y="826186"/>
                </a:lnTo>
                <a:lnTo>
                  <a:pt x="3120744" y="826186"/>
                </a:lnTo>
                <a:close/>
                <a:moveTo>
                  <a:pt x="2919303" y="646767"/>
                </a:moveTo>
                <a:lnTo>
                  <a:pt x="2948257" y="646767"/>
                </a:lnTo>
                <a:lnTo>
                  <a:pt x="2948257" y="756728"/>
                </a:lnTo>
                <a:cubicBezTo>
                  <a:pt x="2947983" y="768950"/>
                  <a:pt x="2952452" y="780837"/>
                  <a:pt x="2960691" y="789855"/>
                </a:cubicBezTo>
                <a:cubicBezTo>
                  <a:pt x="2978898" y="807770"/>
                  <a:pt x="3008529" y="807770"/>
                  <a:pt x="3026757" y="789855"/>
                </a:cubicBezTo>
                <a:cubicBezTo>
                  <a:pt x="3034997" y="780837"/>
                  <a:pt x="3039486" y="768972"/>
                  <a:pt x="3039233" y="756728"/>
                </a:cubicBezTo>
                <a:lnTo>
                  <a:pt x="3039233" y="646767"/>
                </a:lnTo>
                <a:lnTo>
                  <a:pt x="3067681" y="646767"/>
                </a:lnTo>
                <a:lnTo>
                  <a:pt x="3067681" y="757003"/>
                </a:lnTo>
                <a:cubicBezTo>
                  <a:pt x="3068020" y="776536"/>
                  <a:pt x="3060411" y="795420"/>
                  <a:pt x="3046607" y="809285"/>
                </a:cubicBezTo>
                <a:cubicBezTo>
                  <a:pt x="3016810" y="836808"/>
                  <a:pt x="2970300" y="836808"/>
                  <a:pt x="2940503" y="809285"/>
                </a:cubicBezTo>
                <a:cubicBezTo>
                  <a:pt x="2926637" y="795462"/>
                  <a:pt x="2918987" y="776578"/>
                  <a:pt x="2919303" y="757003"/>
                </a:cubicBezTo>
                <a:close/>
                <a:moveTo>
                  <a:pt x="2523708" y="646767"/>
                </a:moveTo>
                <a:lnTo>
                  <a:pt x="2596244" y="646767"/>
                </a:lnTo>
                <a:cubicBezTo>
                  <a:pt x="2612724" y="646219"/>
                  <a:pt x="2628804" y="652203"/>
                  <a:pt x="2640900" y="663414"/>
                </a:cubicBezTo>
                <a:cubicBezTo>
                  <a:pt x="2660455" y="683877"/>
                  <a:pt x="2662984" y="715508"/>
                  <a:pt x="2646926" y="738816"/>
                </a:cubicBezTo>
                <a:cubicBezTo>
                  <a:pt x="2639614" y="748383"/>
                  <a:pt x="2629224" y="755169"/>
                  <a:pt x="2617529" y="758014"/>
                </a:cubicBezTo>
                <a:lnTo>
                  <a:pt x="2638919" y="792090"/>
                </a:lnTo>
                <a:lnTo>
                  <a:pt x="2660329" y="826186"/>
                </a:lnTo>
                <a:lnTo>
                  <a:pt x="2626738" y="826186"/>
                </a:lnTo>
                <a:lnTo>
                  <a:pt x="2606888" y="793776"/>
                </a:lnTo>
                <a:lnTo>
                  <a:pt x="2587015" y="761344"/>
                </a:lnTo>
                <a:lnTo>
                  <a:pt x="2552665" y="761344"/>
                </a:lnTo>
                <a:lnTo>
                  <a:pt x="2552665" y="826186"/>
                </a:lnTo>
                <a:lnTo>
                  <a:pt x="2523708" y="826186"/>
                </a:lnTo>
                <a:close/>
                <a:moveTo>
                  <a:pt x="2785971" y="643110"/>
                </a:moveTo>
                <a:cubicBezTo>
                  <a:pt x="2810216" y="643110"/>
                  <a:pt x="2834460" y="652203"/>
                  <a:pt x="2852899" y="670390"/>
                </a:cubicBezTo>
                <a:cubicBezTo>
                  <a:pt x="2870539" y="687859"/>
                  <a:pt x="2880486" y="711672"/>
                  <a:pt x="2880486" y="736498"/>
                </a:cubicBezTo>
                <a:cubicBezTo>
                  <a:pt x="2880486" y="761302"/>
                  <a:pt x="2870539" y="785114"/>
                  <a:pt x="2852899" y="802584"/>
                </a:cubicBezTo>
                <a:cubicBezTo>
                  <a:pt x="2835093" y="820243"/>
                  <a:pt x="2810984" y="830106"/>
                  <a:pt x="2785906" y="830042"/>
                </a:cubicBezTo>
                <a:cubicBezTo>
                  <a:pt x="2760872" y="830129"/>
                  <a:pt x="2736785" y="820243"/>
                  <a:pt x="2719041" y="802584"/>
                </a:cubicBezTo>
                <a:cubicBezTo>
                  <a:pt x="2701485" y="785072"/>
                  <a:pt x="2691582" y="761279"/>
                  <a:pt x="2691582" y="736498"/>
                </a:cubicBezTo>
                <a:cubicBezTo>
                  <a:pt x="2691582" y="711694"/>
                  <a:pt x="2701485" y="687901"/>
                  <a:pt x="2719041" y="670390"/>
                </a:cubicBezTo>
                <a:cubicBezTo>
                  <a:pt x="2737481" y="652203"/>
                  <a:pt x="2761726" y="643110"/>
                  <a:pt x="2785971" y="643110"/>
                </a:cubicBezTo>
                <a:close/>
                <a:moveTo>
                  <a:pt x="2396594" y="642931"/>
                </a:moveTo>
                <a:cubicBezTo>
                  <a:pt x="2406856" y="642867"/>
                  <a:pt x="2417099" y="644236"/>
                  <a:pt x="2426982" y="647040"/>
                </a:cubicBezTo>
                <a:cubicBezTo>
                  <a:pt x="2436297" y="649695"/>
                  <a:pt x="2445085" y="653951"/>
                  <a:pt x="2452965" y="659600"/>
                </a:cubicBezTo>
                <a:lnTo>
                  <a:pt x="2445401" y="671381"/>
                </a:lnTo>
                <a:lnTo>
                  <a:pt x="2437856" y="683160"/>
                </a:lnTo>
                <a:cubicBezTo>
                  <a:pt x="2432060" y="678693"/>
                  <a:pt x="2425507" y="675257"/>
                  <a:pt x="2418531" y="673045"/>
                </a:cubicBezTo>
                <a:cubicBezTo>
                  <a:pt x="2411345" y="670854"/>
                  <a:pt x="2403842" y="669779"/>
                  <a:pt x="2396320" y="669863"/>
                </a:cubicBezTo>
                <a:cubicBezTo>
                  <a:pt x="2379103" y="669737"/>
                  <a:pt x="2362580" y="676669"/>
                  <a:pt x="2350611" y="689041"/>
                </a:cubicBezTo>
                <a:cubicBezTo>
                  <a:pt x="2338451" y="701811"/>
                  <a:pt x="2331772" y="718860"/>
                  <a:pt x="2332002" y="736498"/>
                </a:cubicBezTo>
                <a:cubicBezTo>
                  <a:pt x="2331730" y="754073"/>
                  <a:pt x="2338199" y="771100"/>
                  <a:pt x="2350106" y="784061"/>
                </a:cubicBezTo>
                <a:cubicBezTo>
                  <a:pt x="2361801" y="796515"/>
                  <a:pt x="2378218" y="803533"/>
                  <a:pt x="2395309" y="803384"/>
                </a:cubicBezTo>
                <a:cubicBezTo>
                  <a:pt x="2409997" y="803827"/>
                  <a:pt x="2424327" y="798749"/>
                  <a:pt x="2435454" y="789161"/>
                </a:cubicBezTo>
                <a:cubicBezTo>
                  <a:pt x="2445611" y="779740"/>
                  <a:pt x="2452248" y="767118"/>
                  <a:pt x="2454251" y="753399"/>
                </a:cubicBezTo>
                <a:lnTo>
                  <a:pt x="2393265" y="753399"/>
                </a:lnTo>
                <a:lnTo>
                  <a:pt x="2401588" y="740332"/>
                </a:lnTo>
                <a:lnTo>
                  <a:pt x="2409911" y="727267"/>
                </a:lnTo>
                <a:lnTo>
                  <a:pt x="2481690" y="727267"/>
                </a:lnTo>
                <a:cubicBezTo>
                  <a:pt x="2482132" y="729144"/>
                  <a:pt x="2482448" y="731062"/>
                  <a:pt x="2482617" y="733000"/>
                </a:cubicBezTo>
                <a:cubicBezTo>
                  <a:pt x="2482827" y="735274"/>
                  <a:pt x="2482953" y="737761"/>
                  <a:pt x="2482953" y="740080"/>
                </a:cubicBezTo>
                <a:cubicBezTo>
                  <a:pt x="2483437" y="763808"/>
                  <a:pt x="2474672" y="786800"/>
                  <a:pt x="2458507" y="804185"/>
                </a:cubicBezTo>
                <a:cubicBezTo>
                  <a:pt x="2441839" y="821192"/>
                  <a:pt x="2418847" y="830549"/>
                  <a:pt x="2395054" y="830042"/>
                </a:cubicBezTo>
                <a:cubicBezTo>
                  <a:pt x="2370357" y="830191"/>
                  <a:pt x="2346606" y="820350"/>
                  <a:pt x="2329263" y="802774"/>
                </a:cubicBezTo>
                <a:cubicBezTo>
                  <a:pt x="2293565" y="766021"/>
                  <a:pt x="2293859" y="706594"/>
                  <a:pt x="2329938" y="670199"/>
                </a:cubicBezTo>
                <a:cubicBezTo>
                  <a:pt x="2347662" y="652646"/>
                  <a:pt x="2371642" y="642825"/>
                  <a:pt x="2396594" y="642931"/>
                </a:cubicBezTo>
                <a:close/>
                <a:moveTo>
                  <a:pt x="175520" y="491918"/>
                </a:moveTo>
                <a:lnTo>
                  <a:pt x="175520" y="675531"/>
                </a:lnTo>
                <a:lnTo>
                  <a:pt x="414560" y="675531"/>
                </a:lnTo>
                <a:cubicBezTo>
                  <a:pt x="439762" y="675722"/>
                  <a:pt x="464081" y="666155"/>
                  <a:pt x="482396" y="648832"/>
                </a:cubicBezTo>
                <a:cubicBezTo>
                  <a:pt x="500350" y="631721"/>
                  <a:pt x="510485" y="607948"/>
                  <a:pt x="510401" y="583146"/>
                </a:cubicBezTo>
                <a:cubicBezTo>
                  <a:pt x="510527" y="558511"/>
                  <a:pt x="500370" y="534886"/>
                  <a:pt x="482396" y="518049"/>
                </a:cubicBezTo>
                <a:cubicBezTo>
                  <a:pt x="463955" y="501022"/>
                  <a:pt x="439658" y="491666"/>
                  <a:pt x="414560" y="491918"/>
                </a:cubicBezTo>
                <a:close/>
                <a:moveTo>
                  <a:pt x="2577194" y="355151"/>
                </a:moveTo>
                <a:cubicBezTo>
                  <a:pt x="2559871" y="355151"/>
                  <a:pt x="2543244" y="362147"/>
                  <a:pt x="2531149" y="374539"/>
                </a:cubicBezTo>
                <a:cubicBezTo>
                  <a:pt x="2506135" y="400858"/>
                  <a:pt x="2506135" y="442711"/>
                  <a:pt x="2531149" y="469052"/>
                </a:cubicBezTo>
                <a:cubicBezTo>
                  <a:pt x="2543202" y="481464"/>
                  <a:pt x="2559809" y="488482"/>
                  <a:pt x="2577130" y="488420"/>
                </a:cubicBezTo>
                <a:cubicBezTo>
                  <a:pt x="2594496" y="488504"/>
                  <a:pt x="2611164" y="481548"/>
                  <a:pt x="2623324" y="469137"/>
                </a:cubicBezTo>
                <a:cubicBezTo>
                  <a:pt x="2648402" y="442795"/>
                  <a:pt x="2648360" y="400816"/>
                  <a:pt x="2623218" y="374539"/>
                </a:cubicBezTo>
                <a:cubicBezTo>
                  <a:pt x="2611122" y="362147"/>
                  <a:pt x="2594496" y="355151"/>
                  <a:pt x="2577194" y="355151"/>
                </a:cubicBezTo>
                <a:close/>
                <a:moveTo>
                  <a:pt x="3664168" y="332095"/>
                </a:moveTo>
                <a:lnTo>
                  <a:pt x="3699804" y="332095"/>
                </a:lnTo>
                <a:lnTo>
                  <a:pt x="3741699" y="399889"/>
                </a:lnTo>
                <a:lnTo>
                  <a:pt x="3783614" y="467683"/>
                </a:lnTo>
                <a:lnTo>
                  <a:pt x="3783614" y="332095"/>
                </a:lnTo>
                <a:lnTo>
                  <a:pt x="3811283" y="332095"/>
                </a:lnTo>
                <a:lnTo>
                  <a:pt x="3811283" y="511496"/>
                </a:lnTo>
                <a:lnTo>
                  <a:pt x="3777713" y="511496"/>
                </a:lnTo>
                <a:lnTo>
                  <a:pt x="3734788" y="442036"/>
                </a:lnTo>
                <a:lnTo>
                  <a:pt x="3691839" y="372599"/>
                </a:lnTo>
                <a:lnTo>
                  <a:pt x="3691839" y="511496"/>
                </a:lnTo>
                <a:lnTo>
                  <a:pt x="3664168" y="511496"/>
                </a:lnTo>
                <a:close/>
                <a:moveTo>
                  <a:pt x="3571276" y="332095"/>
                </a:moveTo>
                <a:lnTo>
                  <a:pt x="3600233" y="332095"/>
                </a:lnTo>
                <a:lnTo>
                  <a:pt x="3600233" y="511496"/>
                </a:lnTo>
                <a:lnTo>
                  <a:pt x="3571276" y="511496"/>
                </a:lnTo>
                <a:close/>
                <a:moveTo>
                  <a:pt x="3385977" y="332095"/>
                </a:moveTo>
                <a:lnTo>
                  <a:pt x="3527698" y="332095"/>
                </a:lnTo>
                <a:lnTo>
                  <a:pt x="3527698" y="358733"/>
                </a:lnTo>
                <a:lnTo>
                  <a:pt x="3471325" y="358733"/>
                </a:lnTo>
                <a:lnTo>
                  <a:pt x="3471325" y="511496"/>
                </a:lnTo>
                <a:lnTo>
                  <a:pt x="3442096" y="511496"/>
                </a:lnTo>
                <a:lnTo>
                  <a:pt x="3442096" y="358733"/>
                </a:lnTo>
                <a:lnTo>
                  <a:pt x="3385977" y="358733"/>
                </a:lnTo>
                <a:close/>
                <a:moveTo>
                  <a:pt x="3273572" y="332095"/>
                </a:moveTo>
                <a:lnTo>
                  <a:pt x="3302526" y="332095"/>
                </a:lnTo>
                <a:lnTo>
                  <a:pt x="3302526" y="484836"/>
                </a:lnTo>
                <a:lnTo>
                  <a:pt x="3390951" y="484836"/>
                </a:lnTo>
                <a:lnTo>
                  <a:pt x="3390951" y="511496"/>
                </a:lnTo>
                <a:lnTo>
                  <a:pt x="3273572" y="511496"/>
                </a:lnTo>
                <a:close/>
                <a:moveTo>
                  <a:pt x="3073730" y="332095"/>
                </a:moveTo>
                <a:lnTo>
                  <a:pt x="3102684" y="332095"/>
                </a:lnTo>
                <a:lnTo>
                  <a:pt x="3102684" y="442036"/>
                </a:lnTo>
                <a:cubicBezTo>
                  <a:pt x="3102432" y="454260"/>
                  <a:pt x="3106879" y="466123"/>
                  <a:pt x="3115118" y="475163"/>
                </a:cubicBezTo>
                <a:cubicBezTo>
                  <a:pt x="3133327" y="493077"/>
                  <a:pt x="3162976" y="493077"/>
                  <a:pt x="3181184" y="475163"/>
                </a:cubicBezTo>
                <a:cubicBezTo>
                  <a:pt x="3189445" y="466145"/>
                  <a:pt x="3193934" y="454260"/>
                  <a:pt x="3193680" y="442036"/>
                </a:cubicBezTo>
                <a:lnTo>
                  <a:pt x="3193680" y="332095"/>
                </a:lnTo>
                <a:lnTo>
                  <a:pt x="3222130" y="332095"/>
                </a:lnTo>
                <a:lnTo>
                  <a:pt x="3222130" y="442288"/>
                </a:lnTo>
                <a:cubicBezTo>
                  <a:pt x="3222466" y="461847"/>
                  <a:pt x="3214860" y="480728"/>
                  <a:pt x="3201056" y="494573"/>
                </a:cubicBezTo>
                <a:cubicBezTo>
                  <a:pt x="3171259" y="522116"/>
                  <a:pt x="3124727" y="522116"/>
                  <a:pt x="3094930" y="494573"/>
                </a:cubicBezTo>
                <a:cubicBezTo>
                  <a:pt x="3081064" y="480750"/>
                  <a:pt x="3073413" y="461866"/>
                  <a:pt x="3073730" y="442288"/>
                </a:cubicBezTo>
                <a:close/>
                <a:moveTo>
                  <a:pt x="2712886" y="332095"/>
                </a:moveTo>
                <a:lnTo>
                  <a:pt x="2748522" y="332095"/>
                </a:lnTo>
                <a:lnTo>
                  <a:pt x="2832332" y="467663"/>
                </a:lnTo>
                <a:lnTo>
                  <a:pt x="2832332" y="332095"/>
                </a:lnTo>
                <a:lnTo>
                  <a:pt x="2860023" y="332095"/>
                </a:lnTo>
                <a:lnTo>
                  <a:pt x="2860023" y="511496"/>
                </a:lnTo>
                <a:lnTo>
                  <a:pt x="2826431" y="511496"/>
                </a:lnTo>
                <a:lnTo>
                  <a:pt x="2740577" y="372579"/>
                </a:lnTo>
                <a:lnTo>
                  <a:pt x="2740577" y="511496"/>
                </a:lnTo>
                <a:lnTo>
                  <a:pt x="2712886" y="511496"/>
                </a:lnTo>
                <a:close/>
                <a:moveTo>
                  <a:pt x="2577187" y="328418"/>
                </a:moveTo>
                <a:cubicBezTo>
                  <a:pt x="2601435" y="328418"/>
                  <a:pt x="2625685" y="337511"/>
                  <a:pt x="2644123" y="355698"/>
                </a:cubicBezTo>
                <a:cubicBezTo>
                  <a:pt x="2661763" y="373147"/>
                  <a:pt x="2671710" y="396960"/>
                  <a:pt x="2671710" y="421786"/>
                </a:cubicBezTo>
                <a:cubicBezTo>
                  <a:pt x="2671710" y="446609"/>
                  <a:pt x="2661763" y="470422"/>
                  <a:pt x="2644123" y="487872"/>
                </a:cubicBezTo>
                <a:cubicBezTo>
                  <a:pt x="2626317" y="505531"/>
                  <a:pt x="2602208" y="515414"/>
                  <a:pt x="2577130" y="515330"/>
                </a:cubicBezTo>
                <a:cubicBezTo>
                  <a:pt x="2552074" y="515436"/>
                  <a:pt x="2528009" y="505551"/>
                  <a:pt x="2510263" y="487872"/>
                </a:cubicBezTo>
                <a:cubicBezTo>
                  <a:pt x="2492690" y="470380"/>
                  <a:pt x="2482805" y="446589"/>
                  <a:pt x="2482805" y="421786"/>
                </a:cubicBezTo>
                <a:cubicBezTo>
                  <a:pt x="2482805" y="397002"/>
                  <a:pt x="2492690" y="373189"/>
                  <a:pt x="2510263" y="355698"/>
                </a:cubicBezTo>
                <a:cubicBezTo>
                  <a:pt x="2528693" y="337511"/>
                  <a:pt x="2552939" y="328418"/>
                  <a:pt x="2577187" y="328418"/>
                </a:cubicBezTo>
                <a:close/>
                <a:moveTo>
                  <a:pt x="3945986" y="328239"/>
                </a:moveTo>
                <a:cubicBezTo>
                  <a:pt x="3956269" y="328177"/>
                  <a:pt x="3966491" y="329547"/>
                  <a:pt x="3976396" y="332347"/>
                </a:cubicBezTo>
                <a:cubicBezTo>
                  <a:pt x="3985710" y="335005"/>
                  <a:pt x="3994498" y="339261"/>
                  <a:pt x="4002359" y="344908"/>
                </a:cubicBezTo>
                <a:lnTo>
                  <a:pt x="3994814" y="356689"/>
                </a:lnTo>
                <a:lnTo>
                  <a:pt x="3987248" y="368468"/>
                </a:lnTo>
                <a:cubicBezTo>
                  <a:pt x="3981453" y="364001"/>
                  <a:pt x="3974920" y="360565"/>
                  <a:pt x="3967944" y="358353"/>
                </a:cubicBezTo>
                <a:cubicBezTo>
                  <a:pt x="3960738" y="356162"/>
                  <a:pt x="3953256" y="355087"/>
                  <a:pt x="3945733" y="355171"/>
                </a:cubicBezTo>
                <a:cubicBezTo>
                  <a:pt x="3928516" y="355045"/>
                  <a:pt x="3911974" y="361979"/>
                  <a:pt x="3900004" y="374349"/>
                </a:cubicBezTo>
                <a:cubicBezTo>
                  <a:pt x="3887865" y="387119"/>
                  <a:pt x="3881185" y="404168"/>
                  <a:pt x="3881395" y="421806"/>
                </a:cubicBezTo>
                <a:cubicBezTo>
                  <a:pt x="3881121" y="439381"/>
                  <a:pt x="3887612" y="456408"/>
                  <a:pt x="3899498" y="469369"/>
                </a:cubicBezTo>
                <a:cubicBezTo>
                  <a:pt x="3911215" y="481823"/>
                  <a:pt x="3927609" y="488841"/>
                  <a:pt x="3944700" y="488692"/>
                </a:cubicBezTo>
                <a:cubicBezTo>
                  <a:pt x="3959389" y="489135"/>
                  <a:pt x="3973719" y="484057"/>
                  <a:pt x="3984845" y="474469"/>
                </a:cubicBezTo>
                <a:cubicBezTo>
                  <a:pt x="3995003" y="465048"/>
                  <a:pt x="4001642" y="452426"/>
                  <a:pt x="4003664" y="438707"/>
                </a:cubicBezTo>
                <a:lnTo>
                  <a:pt x="3942656" y="438707"/>
                </a:lnTo>
                <a:lnTo>
                  <a:pt x="3950981" y="425642"/>
                </a:lnTo>
                <a:lnTo>
                  <a:pt x="3959327" y="412575"/>
                </a:lnTo>
                <a:lnTo>
                  <a:pt x="4031081" y="412575"/>
                </a:lnTo>
                <a:cubicBezTo>
                  <a:pt x="4031546" y="414451"/>
                  <a:pt x="4031840" y="416370"/>
                  <a:pt x="4032008" y="418308"/>
                </a:cubicBezTo>
                <a:cubicBezTo>
                  <a:pt x="4032240" y="420584"/>
                  <a:pt x="4032366" y="423071"/>
                  <a:pt x="4032366" y="425388"/>
                </a:cubicBezTo>
                <a:cubicBezTo>
                  <a:pt x="4032851" y="449118"/>
                  <a:pt x="4024085" y="472108"/>
                  <a:pt x="4007921" y="489493"/>
                </a:cubicBezTo>
                <a:cubicBezTo>
                  <a:pt x="3991252" y="506500"/>
                  <a:pt x="3968261" y="515857"/>
                  <a:pt x="3944448" y="515352"/>
                </a:cubicBezTo>
                <a:cubicBezTo>
                  <a:pt x="3919750" y="515498"/>
                  <a:pt x="3896022" y="505657"/>
                  <a:pt x="3878676" y="488082"/>
                </a:cubicBezTo>
                <a:cubicBezTo>
                  <a:pt x="3842978" y="451331"/>
                  <a:pt x="3843273" y="391902"/>
                  <a:pt x="3879351" y="355507"/>
                </a:cubicBezTo>
                <a:cubicBezTo>
                  <a:pt x="3897053" y="337954"/>
                  <a:pt x="3921036" y="328133"/>
                  <a:pt x="3945986" y="328239"/>
                </a:cubicBezTo>
                <a:close/>
                <a:moveTo>
                  <a:pt x="2397605" y="328239"/>
                </a:moveTo>
                <a:cubicBezTo>
                  <a:pt x="2419312" y="327690"/>
                  <a:pt x="2440553" y="334750"/>
                  <a:pt x="2457580" y="348217"/>
                </a:cubicBezTo>
                <a:lnTo>
                  <a:pt x="2450142" y="359892"/>
                </a:lnTo>
                <a:lnTo>
                  <a:pt x="2442724" y="371545"/>
                </a:lnTo>
                <a:cubicBezTo>
                  <a:pt x="2436233" y="366340"/>
                  <a:pt x="2428985" y="362167"/>
                  <a:pt x="2421208" y="359176"/>
                </a:cubicBezTo>
                <a:cubicBezTo>
                  <a:pt x="2413157" y="356246"/>
                  <a:pt x="2404643" y="354793"/>
                  <a:pt x="2396068" y="354897"/>
                </a:cubicBezTo>
                <a:cubicBezTo>
                  <a:pt x="2378935" y="354855"/>
                  <a:pt x="2362518" y="361831"/>
                  <a:pt x="2350675" y="374223"/>
                </a:cubicBezTo>
                <a:cubicBezTo>
                  <a:pt x="2325891" y="400900"/>
                  <a:pt x="2325891" y="442689"/>
                  <a:pt x="2350675" y="469369"/>
                </a:cubicBezTo>
                <a:cubicBezTo>
                  <a:pt x="2362518" y="481739"/>
                  <a:pt x="2378935" y="488737"/>
                  <a:pt x="2396068" y="488692"/>
                </a:cubicBezTo>
                <a:cubicBezTo>
                  <a:pt x="2404643" y="488779"/>
                  <a:pt x="2413157" y="487323"/>
                  <a:pt x="2421208" y="484394"/>
                </a:cubicBezTo>
                <a:cubicBezTo>
                  <a:pt x="2428985" y="481402"/>
                  <a:pt x="2436233" y="477230"/>
                  <a:pt x="2442724" y="472024"/>
                </a:cubicBezTo>
                <a:lnTo>
                  <a:pt x="2450142" y="483699"/>
                </a:lnTo>
                <a:lnTo>
                  <a:pt x="2457580" y="495352"/>
                </a:lnTo>
                <a:cubicBezTo>
                  <a:pt x="2440553" y="508819"/>
                  <a:pt x="2419312" y="515899"/>
                  <a:pt x="2397605" y="515330"/>
                </a:cubicBezTo>
                <a:cubicBezTo>
                  <a:pt x="2372379" y="515521"/>
                  <a:pt x="2348104" y="505722"/>
                  <a:pt x="2330086" y="488062"/>
                </a:cubicBezTo>
                <a:cubicBezTo>
                  <a:pt x="2312362" y="470590"/>
                  <a:pt x="2302415" y="446674"/>
                  <a:pt x="2302521" y="421786"/>
                </a:cubicBezTo>
                <a:cubicBezTo>
                  <a:pt x="2302415" y="396898"/>
                  <a:pt x="2312362" y="372979"/>
                  <a:pt x="2330086" y="355507"/>
                </a:cubicBezTo>
                <a:cubicBezTo>
                  <a:pt x="2348104" y="337870"/>
                  <a:pt x="2372379" y="328049"/>
                  <a:pt x="2397605" y="328239"/>
                </a:cubicBezTo>
                <a:close/>
                <a:moveTo>
                  <a:pt x="2967329" y="328177"/>
                </a:moveTo>
                <a:lnTo>
                  <a:pt x="2967709" y="328177"/>
                </a:lnTo>
                <a:cubicBezTo>
                  <a:pt x="2968594" y="328177"/>
                  <a:pt x="2969479" y="328197"/>
                  <a:pt x="2970364" y="328239"/>
                </a:cubicBezTo>
                <a:cubicBezTo>
                  <a:pt x="2980499" y="328197"/>
                  <a:pt x="2990573" y="329757"/>
                  <a:pt x="3000226" y="332854"/>
                </a:cubicBezTo>
                <a:cubicBezTo>
                  <a:pt x="3008971" y="335677"/>
                  <a:pt x="3017211" y="339830"/>
                  <a:pt x="3024691" y="345162"/>
                </a:cubicBezTo>
                <a:lnTo>
                  <a:pt x="3017527" y="356563"/>
                </a:lnTo>
                <a:lnTo>
                  <a:pt x="3010341" y="367963"/>
                </a:lnTo>
                <a:cubicBezTo>
                  <a:pt x="3004082" y="363833"/>
                  <a:pt x="2997380" y="360461"/>
                  <a:pt x="2990321" y="357910"/>
                </a:cubicBezTo>
                <a:cubicBezTo>
                  <a:pt x="2983829" y="355594"/>
                  <a:pt x="2977002" y="354412"/>
                  <a:pt x="2970112" y="354392"/>
                </a:cubicBezTo>
                <a:cubicBezTo>
                  <a:pt x="2961660" y="353866"/>
                  <a:pt x="2953315" y="356521"/>
                  <a:pt x="2946720" y="361808"/>
                </a:cubicBezTo>
                <a:cubicBezTo>
                  <a:pt x="2941662" y="366488"/>
                  <a:pt x="2938879" y="373125"/>
                  <a:pt x="2939091" y="380017"/>
                </a:cubicBezTo>
                <a:cubicBezTo>
                  <a:pt x="2938879" y="387539"/>
                  <a:pt x="2943010" y="394537"/>
                  <a:pt x="2949691" y="397993"/>
                </a:cubicBezTo>
                <a:cubicBezTo>
                  <a:pt x="2958605" y="402566"/>
                  <a:pt x="2968046" y="406084"/>
                  <a:pt x="2977802" y="408445"/>
                </a:cubicBezTo>
                <a:cubicBezTo>
                  <a:pt x="2991248" y="411754"/>
                  <a:pt x="3004040" y="417339"/>
                  <a:pt x="3015567" y="424987"/>
                </a:cubicBezTo>
                <a:cubicBezTo>
                  <a:pt x="3026799" y="433332"/>
                  <a:pt x="3033120" y="446778"/>
                  <a:pt x="3032384" y="460749"/>
                </a:cubicBezTo>
                <a:cubicBezTo>
                  <a:pt x="3032804" y="475564"/>
                  <a:pt x="3026757" y="489852"/>
                  <a:pt x="3015819" y="499863"/>
                </a:cubicBezTo>
                <a:cubicBezTo>
                  <a:pt x="3002712" y="510653"/>
                  <a:pt x="2986042" y="516173"/>
                  <a:pt x="2969079" y="515330"/>
                </a:cubicBezTo>
                <a:cubicBezTo>
                  <a:pt x="2956581" y="515456"/>
                  <a:pt x="2944169" y="513392"/>
                  <a:pt x="2932390" y="509219"/>
                </a:cubicBezTo>
                <a:cubicBezTo>
                  <a:pt x="2922821" y="505699"/>
                  <a:pt x="2913761" y="500852"/>
                  <a:pt x="2905520" y="494825"/>
                </a:cubicBezTo>
                <a:lnTo>
                  <a:pt x="2919872" y="472024"/>
                </a:lnTo>
                <a:cubicBezTo>
                  <a:pt x="2927352" y="476955"/>
                  <a:pt x="2935319" y="481086"/>
                  <a:pt x="2943642" y="484352"/>
                </a:cubicBezTo>
                <a:cubicBezTo>
                  <a:pt x="2951839" y="487513"/>
                  <a:pt x="2960565" y="489157"/>
                  <a:pt x="2969353" y="489199"/>
                </a:cubicBezTo>
                <a:cubicBezTo>
                  <a:pt x="2978435" y="489684"/>
                  <a:pt x="2987433" y="486987"/>
                  <a:pt x="2994745" y="481528"/>
                </a:cubicBezTo>
                <a:cubicBezTo>
                  <a:pt x="3000394" y="476871"/>
                  <a:pt x="3003597" y="469853"/>
                  <a:pt x="3003429" y="462541"/>
                </a:cubicBezTo>
                <a:cubicBezTo>
                  <a:pt x="3003575" y="455039"/>
                  <a:pt x="2999403" y="448085"/>
                  <a:pt x="2992723" y="444671"/>
                </a:cubicBezTo>
                <a:cubicBezTo>
                  <a:pt x="2983851" y="440056"/>
                  <a:pt x="2974453" y="436494"/>
                  <a:pt x="2964716" y="434091"/>
                </a:cubicBezTo>
                <a:cubicBezTo>
                  <a:pt x="2951251" y="430846"/>
                  <a:pt x="2938436" y="425284"/>
                  <a:pt x="2926848" y="417655"/>
                </a:cubicBezTo>
                <a:cubicBezTo>
                  <a:pt x="2915635" y="409268"/>
                  <a:pt x="2909356" y="395781"/>
                  <a:pt x="2910135" y="381809"/>
                </a:cubicBezTo>
                <a:cubicBezTo>
                  <a:pt x="2909692" y="367289"/>
                  <a:pt x="2915467" y="353275"/>
                  <a:pt x="2926025" y="343306"/>
                </a:cubicBezTo>
                <a:cubicBezTo>
                  <a:pt x="2937593" y="333507"/>
                  <a:pt x="2952240" y="328177"/>
                  <a:pt x="2967329" y="328177"/>
                </a:cubicBezTo>
                <a:close/>
                <a:moveTo>
                  <a:pt x="175520" y="167447"/>
                </a:moveTo>
                <a:lnTo>
                  <a:pt x="175520" y="344129"/>
                </a:lnTo>
                <a:lnTo>
                  <a:pt x="375298" y="344129"/>
                </a:lnTo>
                <a:cubicBezTo>
                  <a:pt x="399155" y="344445"/>
                  <a:pt x="422208" y="335299"/>
                  <a:pt x="439383" y="318714"/>
                </a:cubicBezTo>
                <a:cubicBezTo>
                  <a:pt x="456264" y="301939"/>
                  <a:pt x="465663" y="279012"/>
                  <a:pt x="465366" y="255219"/>
                </a:cubicBezTo>
                <a:cubicBezTo>
                  <a:pt x="465705" y="231575"/>
                  <a:pt x="456306" y="208793"/>
                  <a:pt x="439383" y="192273"/>
                </a:cubicBezTo>
                <a:cubicBezTo>
                  <a:pt x="422060" y="175982"/>
                  <a:pt x="399070" y="167068"/>
                  <a:pt x="375298" y="167447"/>
                </a:cubicBezTo>
                <a:close/>
                <a:moveTo>
                  <a:pt x="2340453" y="118368"/>
                </a:moveTo>
                <a:lnTo>
                  <a:pt x="2340453" y="171157"/>
                </a:lnTo>
                <a:lnTo>
                  <a:pt x="2387090" y="171157"/>
                </a:lnTo>
                <a:cubicBezTo>
                  <a:pt x="2394528" y="171283"/>
                  <a:pt x="2401714" y="168522"/>
                  <a:pt x="2407130" y="163445"/>
                </a:cubicBezTo>
                <a:cubicBezTo>
                  <a:pt x="2412188" y="158533"/>
                  <a:pt x="2415033" y="151770"/>
                  <a:pt x="2415033" y="144710"/>
                </a:cubicBezTo>
                <a:cubicBezTo>
                  <a:pt x="2415033" y="137672"/>
                  <a:pt x="2412188" y="130906"/>
                  <a:pt x="2407130" y="125997"/>
                </a:cubicBezTo>
                <a:cubicBezTo>
                  <a:pt x="2401862" y="121107"/>
                  <a:pt x="2394950" y="118388"/>
                  <a:pt x="2387784" y="118368"/>
                </a:cubicBezTo>
                <a:lnTo>
                  <a:pt x="2387448" y="118368"/>
                </a:lnTo>
                <a:cubicBezTo>
                  <a:pt x="2387322" y="118368"/>
                  <a:pt x="2387216" y="118368"/>
                  <a:pt x="2387090" y="118368"/>
                </a:cubicBezTo>
                <a:close/>
                <a:moveTo>
                  <a:pt x="2340453" y="43008"/>
                </a:moveTo>
                <a:lnTo>
                  <a:pt x="2340453" y="93248"/>
                </a:lnTo>
                <a:lnTo>
                  <a:pt x="2382494" y="93248"/>
                </a:lnTo>
                <a:cubicBezTo>
                  <a:pt x="2389386" y="93394"/>
                  <a:pt x="2396088" y="90823"/>
                  <a:pt x="2401103" y="86062"/>
                </a:cubicBezTo>
                <a:cubicBezTo>
                  <a:pt x="2410734" y="76137"/>
                  <a:pt x="2410734" y="60121"/>
                  <a:pt x="2401103" y="50194"/>
                </a:cubicBezTo>
                <a:cubicBezTo>
                  <a:pt x="2396256" y="45579"/>
                  <a:pt x="2389809" y="43008"/>
                  <a:pt x="2383127" y="43008"/>
                </a:cubicBezTo>
                <a:lnTo>
                  <a:pt x="2382811" y="43008"/>
                </a:lnTo>
                <a:cubicBezTo>
                  <a:pt x="2382707" y="43008"/>
                  <a:pt x="2382601" y="43008"/>
                  <a:pt x="2382494" y="43008"/>
                </a:cubicBezTo>
                <a:close/>
                <a:moveTo>
                  <a:pt x="3103717" y="40459"/>
                </a:moveTo>
                <a:cubicBezTo>
                  <a:pt x="3086394" y="40459"/>
                  <a:pt x="3069789" y="47433"/>
                  <a:pt x="3057672" y="59825"/>
                </a:cubicBezTo>
                <a:cubicBezTo>
                  <a:pt x="3032658" y="86146"/>
                  <a:pt x="3032658" y="128019"/>
                  <a:pt x="3057672" y="154340"/>
                </a:cubicBezTo>
                <a:cubicBezTo>
                  <a:pt x="3069725" y="166774"/>
                  <a:pt x="3086332" y="173770"/>
                  <a:pt x="3103653" y="173728"/>
                </a:cubicBezTo>
                <a:cubicBezTo>
                  <a:pt x="3121019" y="173812"/>
                  <a:pt x="3137709" y="166859"/>
                  <a:pt x="3149847" y="154444"/>
                </a:cubicBezTo>
                <a:cubicBezTo>
                  <a:pt x="3174945" y="128103"/>
                  <a:pt x="3174903" y="86124"/>
                  <a:pt x="3149743" y="59825"/>
                </a:cubicBezTo>
                <a:cubicBezTo>
                  <a:pt x="3137645" y="47433"/>
                  <a:pt x="3121041" y="40459"/>
                  <a:pt x="3103717" y="40459"/>
                </a:cubicBezTo>
                <a:close/>
                <a:moveTo>
                  <a:pt x="2572073" y="40459"/>
                </a:moveTo>
                <a:cubicBezTo>
                  <a:pt x="2554751" y="40459"/>
                  <a:pt x="2538145" y="47433"/>
                  <a:pt x="2526027" y="59825"/>
                </a:cubicBezTo>
                <a:cubicBezTo>
                  <a:pt x="2501013" y="86146"/>
                  <a:pt x="2501013" y="128019"/>
                  <a:pt x="2526027" y="154340"/>
                </a:cubicBezTo>
                <a:cubicBezTo>
                  <a:pt x="2538083" y="166774"/>
                  <a:pt x="2554687" y="173770"/>
                  <a:pt x="2572011" y="173728"/>
                </a:cubicBezTo>
                <a:cubicBezTo>
                  <a:pt x="2589374" y="173812"/>
                  <a:pt x="2606065" y="166859"/>
                  <a:pt x="2618204" y="154444"/>
                </a:cubicBezTo>
                <a:cubicBezTo>
                  <a:pt x="2643302" y="128103"/>
                  <a:pt x="2643260" y="86124"/>
                  <a:pt x="2618120" y="59825"/>
                </a:cubicBezTo>
                <a:cubicBezTo>
                  <a:pt x="2606003" y="47433"/>
                  <a:pt x="2589396" y="40459"/>
                  <a:pt x="2572073" y="40459"/>
                </a:cubicBezTo>
                <a:close/>
                <a:moveTo>
                  <a:pt x="3239241" y="17383"/>
                </a:moveTo>
                <a:lnTo>
                  <a:pt x="3274857" y="17383"/>
                </a:lnTo>
                <a:lnTo>
                  <a:pt x="3316772" y="85177"/>
                </a:lnTo>
                <a:lnTo>
                  <a:pt x="3358687" y="152971"/>
                </a:lnTo>
                <a:lnTo>
                  <a:pt x="3358687" y="17383"/>
                </a:lnTo>
                <a:lnTo>
                  <a:pt x="3386356" y="17383"/>
                </a:lnTo>
                <a:lnTo>
                  <a:pt x="3386356" y="196804"/>
                </a:lnTo>
                <a:lnTo>
                  <a:pt x="3352786" y="196804"/>
                </a:lnTo>
                <a:lnTo>
                  <a:pt x="3309838" y="127344"/>
                </a:lnTo>
                <a:lnTo>
                  <a:pt x="3266912" y="57887"/>
                </a:lnTo>
                <a:lnTo>
                  <a:pt x="3266912" y="196804"/>
                </a:lnTo>
                <a:lnTo>
                  <a:pt x="3239241" y="196804"/>
                </a:lnTo>
                <a:close/>
                <a:moveTo>
                  <a:pt x="2849255" y="17383"/>
                </a:moveTo>
                <a:lnTo>
                  <a:pt x="2990995" y="17383"/>
                </a:lnTo>
                <a:lnTo>
                  <a:pt x="2990995" y="44041"/>
                </a:lnTo>
                <a:lnTo>
                  <a:pt x="2934602" y="44041"/>
                </a:lnTo>
                <a:lnTo>
                  <a:pt x="2934602" y="196804"/>
                </a:lnTo>
                <a:lnTo>
                  <a:pt x="2905393" y="196804"/>
                </a:lnTo>
                <a:lnTo>
                  <a:pt x="2905393" y="44041"/>
                </a:lnTo>
                <a:lnTo>
                  <a:pt x="2849255" y="44041"/>
                </a:lnTo>
                <a:close/>
                <a:moveTo>
                  <a:pt x="2311499" y="17383"/>
                </a:moveTo>
                <a:lnTo>
                  <a:pt x="2382727" y="17383"/>
                </a:lnTo>
                <a:cubicBezTo>
                  <a:pt x="2397079" y="17045"/>
                  <a:pt x="2411050" y="21850"/>
                  <a:pt x="2422113" y="30974"/>
                </a:cubicBezTo>
                <a:cubicBezTo>
                  <a:pt x="2432166" y="39532"/>
                  <a:pt x="2437941" y="52112"/>
                  <a:pt x="2437856" y="65325"/>
                </a:cubicBezTo>
                <a:cubicBezTo>
                  <a:pt x="2437918" y="72721"/>
                  <a:pt x="2435916" y="80013"/>
                  <a:pt x="2432124" y="86356"/>
                </a:cubicBezTo>
                <a:cubicBezTo>
                  <a:pt x="2428288" y="92615"/>
                  <a:pt x="2422936" y="97799"/>
                  <a:pt x="2416571" y="101445"/>
                </a:cubicBezTo>
                <a:cubicBezTo>
                  <a:pt x="2424958" y="105408"/>
                  <a:pt x="2432082" y="111583"/>
                  <a:pt x="2437202" y="119295"/>
                </a:cubicBezTo>
                <a:cubicBezTo>
                  <a:pt x="2442197" y="126944"/>
                  <a:pt x="2444810" y="135900"/>
                  <a:pt x="2444768" y="145026"/>
                </a:cubicBezTo>
                <a:cubicBezTo>
                  <a:pt x="2444852" y="158998"/>
                  <a:pt x="2438994" y="172359"/>
                  <a:pt x="2428646" y="181777"/>
                </a:cubicBezTo>
                <a:cubicBezTo>
                  <a:pt x="2417267" y="191788"/>
                  <a:pt x="2402515" y="197162"/>
                  <a:pt x="2387364" y="196804"/>
                </a:cubicBezTo>
                <a:lnTo>
                  <a:pt x="2311499" y="196804"/>
                </a:lnTo>
                <a:close/>
                <a:moveTo>
                  <a:pt x="3103717" y="13721"/>
                </a:moveTo>
                <a:cubicBezTo>
                  <a:pt x="3127963" y="13721"/>
                  <a:pt x="3152208" y="22809"/>
                  <a:pt x="3170646" y="40986"/>
                </a:cubicBezTo>
                <a:cubicBezTo>
                  <a:pt x="3188286" y="58455"/>
                  <a:pt x="3198233" y="82268"/>
                  <a:pt x="3198233" y="107094"/>
                </a:cubicBezTo>
                <a:cubicBezTo>
                  <a:pt x="3198233" y="131917"/>
                  <a:pt x="3188286" y="155730"/>
                  <a:pt x="3170646" y="173179"/>
                </a:cubicBezTo>
                <a:cubicBezTo>
                  <a:pt x="3152840" y="190839"/>
                  <a:pt x="3128731" y="200722"/>
                  <a:pt x="3103653" y="200638"/>
                </a:cubicBezTo>
                <a:cubicBezTo>
                  <a:pt x="3078619" y="200722"/>
                  <a:pt x="3054532" y="190839"/>
                  <a:pt x="3036789" y="173179"/>
                </a:cubicBezTo>
                <a:cubicBezTo>
                  <a:pt x="3019213" y="155688"/>
                  <a:pt x="3009330" y="131875"/>
                  <a:pt x="3009330" y="107094"/>
                </a:cubicBezTo>
                <a:cubicBezTo>
                  <a:pt x="3009330" y="82290"/>
                  <a:pt x="3019213" y="58497"/>
                  <a:pt x="3036789" y="40986"/>
                </a:cubicBezTo>
                <a:cubicBezTo>
                  <a:pt x="3055227" y="22809"/>
                  <a:pt x="3079472" y="13721"/>
                  <a:pt x="3103717" y="13721"/>
                </a:cubicBezTo>
                <a:close/>
                <a:moveTo>
                  <a:pt x="2572074" y="13721"/>
                </a:moveTo>
                <a:cubicBezTo>
                  <a:pt x="2596319" y="13721"/>
                  <a:pt x="2620564" y="22809"/>
                  <a:pt x="2639004" y="40986"/>
                </a:cubicBezTo>
                <a:cubicBezTo>
                  <a:pt x="2656641" y="58455"/>
                  <a:pt x="2666588" y="82268"/>
                  <a:pt x="2666588" y="107094"/>
                </a:cubicBezTo>
                <a:cubicBezTo>
                  <a:pt x="2666588" y="131917"/>
                  <a:pt x="2656641" y="155730"/>
                  <a:pt x="2639004" y="173179"/>
                </a:cubicBezTo>
                <a:cubicBezTo>
                  <a:pt x="2621196" y="190839"/>
                  <a:pt x="2597089" y="200722"/>
                  <a:pt x="2572011" y="200638"/>
                </a:cubicBezTo>
                <a:cubicBezTo>
                  <a:pt x="2546974" y="200722"/>
                  <a:pt x="2522888" y="190839"/>
                  <a:pt x="2505144" y="173179"/>
                </a:cubicBezTo>
                <a:cubicBezTo>
                  <a:pt x="2487568" y="155688"/>
                  <a:pt x="2477685" y="131875"/>
                  <a:pt x="2477685" y="107094"/>
                </a:cubicBezTo>
                <a:cubicBezTo>
                  <a:pt x="2477685" y="82290"/>
                  <a:pt x="2487568" y="58497"/>
                  <a:pt x="2505144" y="40986"/>
                </a:cubicBezTo>
                <a:cubicBezTo>
                  <a:pt x="2523584" y="22809"/>
                  <a:pt x="2547829" y="13721"/>
                  <a:pt x="2572074" y="13721"/>
                </a:cubicBezTo>
                <a:close/>
                <a:moveTo>
                  <a:pt x="2759628" y="13547"/>
                </a:moveTo>
                <a:cubicBezTo>
                  <a:pt x="2769744" y="13505"/>
                  <a:pt x="2779837" y="15065"/>
                  <a:pt x="2789468" y="18162"/>
                </a:cubicBezTo>
                <a:cubicBezTo>
                  <a:pt x="2798214" y="20987"/>
                  <a:pt x="2806475" y="25118"/>
                  <a:pt x="2813955" y="30470"/>
                </a:cubicBezTo>
                <a:lnTo>
                  <a:pt x="2806769" y="41871"/>
                </a:lnTo>
                <a:lnTo>
                  <a:pt x="2799605" y="53271"/>
                </a:lnTo>
                <a:cubicBezTo>
                  <a:pt x="2793346" y="49141"/>
                  <a:pt x="2786623" y="45747"/>
                  <a:pt x="2779585" y="43198"/>
                </a:cubicBezTo>
                <a:cubicBezTo>
                  <a:pt x="2773093" y="40902"/>
                  <a:pt x="2766246" y="39700"/>
                  <a:pt x="2759354" y="39678"/>
                </a:cubicBezTo>
                <a:cubicBezTo>
                  <a:pt x="2750903" y="39174"/>
                  <a:pt x="2742579" y="41829"/>
                  <a:pt x="2735984" y="47119"/>
                </a:cubicBezTo>
                <a:cubicBezTo>
                  <a:pt x="2730926" y="51796"/>
                  <a:pt x="2728143" y="58435"/>
                  <a:pt x="2728355" y="65325"/>
                </a:cubicBezTo>
                <a:cubicBezTo>
                  <a:pt x="2728143" y="72827"/>
                  <a:pt x="2732274" y="79845"/>
                  <a:pt x="2738955" y="83281"/>
                </a:cubicBezTo>
                <a:cubicBezTo>
                  <a:pt x="2747869" y="87874"/>
                  <a:pt x="2757310" y="91394"/>
                  <a:pt x="2767067" y="93775"/>
                </a:cubicBezTo>
                <a:cubicBezTo>
                  <a:pt x="2780512" y="97062"/>
                  <a:pt x="2793282" y="102647"/>
                  <a:pt x="2804831" y="110297"/>
                </a:cubicBezTo>
                <a:cubicBezTo>
                  <a:pt x="2816041" y="118640"/>
                  <a:pt x="2822365" y="132085"/>
                  <a:pt x="2821648" y="146057"/>
                </a:cubicBezTo>
                <a:cubicBezTo>
                  <a:pt x="2822048" y="160874"/>
                  <a:pt x="2815999" y="175140"/>
                  <a:pt x="2805083" y="185171"/>
                </a:cubicBezTo>
                <a:cubicBezTo>
                  <a:pt x="2791977" y="195939"/>
                  <a:pt x="2775306" y="201461"/>
                  <a:pt x="2758343" y="200638"/>
                </a:cubicBezTo>
                <a:cubicBezTo>
                  <a:pt x="2745845" y="200744"/>
                  <a:pt x="2733433" y="198678"/>
                  <a:pt x="2721654" y="194505"/>
                </a:cubicBezTo>
                <a:cubicBezTo>
                  <a:pt x="2712065" y="191007"/>
                  <a:pt x="2703025" y="186162"/>
                  <a:pt x="2694764" y="180133"/>
                </a:cubicBezTo>
                <a:lnTo>
                  <a:pt x="2701950" y="168732"/>
                </a:lnTo>
                <a:lnTo>
                  <a:pt x="2709114" y="157332"/>
                </a:lnTo>
                <a:cubicBezTo>
                  <a:pt x="2716596" y="162263"/>
                  <a:pt x="2724561" y="166394"/>
                  <a:pt x="2732906" y="169659"/>
                </a:cubicBezTo>
                <a:cubicBezTo>
                  <a:pt x="2741104" y="172821"/>
                  <a:pt x="2749807" y="174445"/>
                  <a:pt x="2758595" y="174487"/>
                </a:cubicBezTo>
                <a:cubicBezTo>
                  <a:pt x="2767699" y="174991"/>
                  <a:pt x="2776678" y="172275"/>
                  <a:pt x="2783990" y="166836"/>
                </a:cubicBezTo>
                <a:cubicBezTo>
                  <a:pt x="2789636" y="162159"/>
                  <a:pt x="2792840" y="155161"/>
                  <a:pt x="2792671" y="147849"/>
                </a:cubicBezTo>
                <a:cubicBezTo>
                  <a:pt x="2792820" y="140347"/>
                  <a:pt x="2788667" y="133393"/>
                  <a:pt x="2781987" y="129957"/>
                </a:cubicBezTo>
                <a:cubicBezTo>
                  <a:pt x="2773093" y="125342"/>
                  <a:pt x="2763695" y="121802"/>
                  <a:pt x="2753980" y="119379"/>
                </a:cubicBezTo>
                <a:cubicBezTo>
                  <a:pt x="2740493" y="116156"/>
                  <a:pt x="2727681" y="110592"/>
                  <a:pt x="2716112" y="102963"/>
                </a:cubicBezTo>
                <a:cubicBezTo>
                  <a:pt x="2704899" y="94576"/>
                  <a:pt x="2698598" y="81089"/>
                  <a:pt x="2699399" y="67095"/>
                </a:cubicBezTo>
                <a:cubicBezTo>
                  <a:pt x="2698956" y="52597"/>
                  <a:pt x="2704731" y="38561"/>
                  <a:pt x="2715289" y="28594"/>
                </a:cubicBezTo>
                <a:cubicBezTo>
                  <a:pt x="2727617" y="18162"/>
                  <a:pt x="2743464" y="12768"/>
                  <a:pt x="2759628" y="13547"/>
                </a:cubicBezTo>
                <a:close/>
                <a:moveTo>
                  <a:pt x="969973" y="17"/>
                </a:moveTo>
                <a:cubicBezTo>
                  <a:pt x="1015050" y="-277"/>
                  <a:pt x="1059958" y="5792"/>
                  <a:pt x="1103348" y="18058"/>
                </a:cubicBezTo>
                <a:cubicBezTo>
                  <a:pt x="1143600" y="29500"/>
                  <a:pt x="1181638" y="47603"/>
                  <a:pt x="1215924" y="71606"/>
                </a:cubicBezTo>
                <a:lnTo>
                  <a:pt x="1171459" y="141464"/>
                </a:lnTo>
                <a:lnTo>
                  <a:pt x="1127015" y="211322"/>
                </a:lnTo>
                <a:cubicBezTo>
                  <a:pt x="1105393" y="195034"/>
                  <a:pt x="1081200" y="182494"/>
                  <a:pt x="1055427" y="174232"/>
                </a:cubicBezTo>
                <a:cubicBezTo>
                  <a:pt x="1027758" y="165489"/>
                  <a:pt x="998972" y="160851"/>
                  <a:pt x="969973" y="160515"/>
                </a:cubicBezTo>
                <a:cubicBezTo>
                  <a:pt x="899737" y="161126"/>
                  <a:pt x="832469" y="189279"/>
                  <a:pt x="782756" y="238909"/>
                </a:cubicBezTo>
                <a:cubicBezTo>
                  <a:pt x="733422" y="286724"/>
                  <a:pt x="705543" y="352558"/>
                  <a:pt x="705543" y="421279"/>
                </a:cubicBezTo>
                <a:cubicBezTo>
                  <a:pt x="705543" y="489980"/>
                  <a:pt x="733422" y="555833"/>
                  <a:pt x="782756" y="603649"/>
                </a:cubicBezTo>
                <a:cubicBezTo>
                  <a:pt x="832363" y="653341"/>
                  <a:pt x="899757" y="681286"/>
                  <a:pt x="969973" y="681306"/>
                </a:cubicBezTo>
                <a:cubicBezTo>
                  <a:pt x="1004155" y="681580"/>
                  <a:pt x="1038041" y="674899"/>
                  <a:pt x="1069569" y="661666"/>
                </a:cubicBezTo>
                <a:cubicBezTo>
                  <a:pt x="1101030" y="648031"/>
                  <a:pt x="1129564" y="628433"/>
                  <a:pt x="1153567" y="603945"/>
                </a:cubicBezTo>
                <a:cubicBezTo>
                  <a:pt x="1214197" y="543315"/>
                  <a:pt x="1224880" y="467389"/>
                  <a:pt x="1242773" y="384254"/>
                </a:cubicBezTo>
                <a:cubicBezTo>
                  <a:pt x="1260662" y="301116"/>
                  <a:pt x="1285783" y="210753"/>
                  <a:pt x="1375283" y="121255"/>
                </a:cubicBezTo>
                <a:cubicBezTo>
                  <a:pt x="1413215" y="83152"/>
                  <a:pt x="1458354" y="52977"/>
                  <a:pt x="1508067" y="32492"/>
                </a:cubicBezTo>
                <a:cubicBezTo>
                  <a:pt x="1562352" y="10555"/>
                  <a:pt x="1620411" y="-487"/>
                  <a:pt x="1678975" y="17"/>
                </a:cubicBezTo>
                <a:cubicBezTo>
                  <a:pt x="1724135" y="-193"/>
                  <a:pt x="1769063" y="6276"/>
                  <a:pt x="1812328" y="19217"/>
                </a:cubicBezTo>
                <a:cubicBezTo>
                  <a:pt x="1852557" y="31312"/>
                  <a:pt x="1890573" y="49773"/>
                  <a:pt x="1924924" y="73922"/>
                </a:cubicBezTo>
                <a:lnTo>
                  <a:pt x="1881049" y="143782"/>
                </a:lnTo>
                <a:lnTo>
                  <a:pt x="1837151" y="213640"/>
                </a:lnTo>
                <a:cubicBezTo>
                  <a:pt x="1815047" y="197224"/>
                  <a:pt x="1790495" y="184370"/>
                  <a:pt x="1764406" y="175540"/>
                </a:cubicBezTo>
                <a:cubicBezTo>
                  <a:pt x="1736505" y="166225"/>
                  <a:pt x="1707234" y="161546"/>
                  <a:pt x="1677815" y="161674"/>
                </a:cubicBezTo>
                <a:cubicBezTo>
                  <a:pt x="1609221" y="161652"/>
                  <a:pt x="1543429" y="189237"/>
                  <a:pt x="1495359" y="238170"/>
                </a:cubicBezTo>
                <a:cubicBezTo>
                  <a:pt x="1447353" y="286618"/>
                  <a:pt x="1420359" y="352135"/>
                  <a:pt x="1420317" y="420330"/>
                </a:cubicBezTo>
                <a:cubicBezTo>
                  <a:pt x="1420169" y="489199"/>
                  <a:pt x="1446849" y="555497"/>
                  <a:pt x="1494642" y="605083"/>
                </a:cubicBezTo>
                <a:cubicBezTo>
                  <a:pt x="1541847" y="654438"/>
                  <a:pt x="1607218" y="682401"/>
                  <a:pt x="1675497" y="682465"/>
                </a:cubicBezTo>
                <a:cubicBezTo>
                  <a:pt x="1728076" y="683056"/>
                  <a:pt x="1779263" y="665522"/>
                  <a:pt x="1820419" y="632794"/>
                </a:cubicBezTo>
                <a:cubicBezTo>
                  <a:pt x="1860163" y="600299"/>
                  <a:pt x="1888994" y="556340"/>
                  <a:pt x="1902985" y="506943"/>
                </a:cubicBezTo>
                <a:lnTo>
                  <a:pt x="1651261" y="506943"/>
                </a:lnTo>
                <a:lnTo>
                  <a:pt x="1700911" y="428991"/>
                </a:lnTo>
                <a:lnTo>
                  <a:pt x="1750561" y="351062"/>
                </a:lnTo>
                <a:lnTo>
                  <a:pt x="2077348" y="351062"/>
                </a:lnTo>
                <a:cubicBezTo>
                  <a:pt x="2079076" y="362589"/>
                  <a:pt x="2080510" y="374138"/>
                  <a:pt x="2081521" y="385833"/>
                </a:cubicBezTo>
                <a:cubicBezTo>
                  <a:pt x="2082532" y="397528"/>
                  <a:pt x="2083123" y="409371"/>
                  <a:pt x="2083123" y="421489"/>
                </a:cubicBezTo>
                <a:cubicBezTo>
                  <a:pt x="2083713" y="532421"/>
                  <a:pt x="2040976" y="639327"/>
                  <a:pt x="1964035" y="719261"/>
                </a:cubicBezTo>
                <a:cubicBezTo>
                  <a:pt x="1887286" y="798685"/>
                  <a:pt x="1781327" y="843403"/>
                  <a:pt x="1670881" y="842961"/>
                </a:cubicBezTo>
                <a:cubicBezTo>
                  <a:pt x="1599315" y="843403"/>
                  <a:pt x="1528718" y="826418"/>
                  <a:pt x="1465203" y="793459"/>
                </a:cubicBezTo>
                <a:cubicBezTo>
                  <a:pt x="1405817" y="762439"/>
                  <a:pt x="1355072" y="717152"/>
                  <a:pt x="1317540" y="661666"/>
                </a:cubicBezTo>
                <a:cubicBezTo>
                  <a:pt x="1279187" y="717026"/>
                  <a:pt x="1228104" y="762377"/>
                  <a:pt x="1168571" y="793882"/>
                </a:cubicBezTo>
                <a:cubicBezTo>
                  <a:pt x="1105477" y="826693"/>
                  <a:pt x="1035302" y="843529"/>
                  <a:pt x="964201" y="842961"/>
                </a:cubicBezTo>
                <a:cubicBezTo>
                  <a:pt x="902896" y="843173"/>
                  <a:pt x="842268" y="830275"/>
                  <a:pt x="786360" y="805135"/>
                </a:cubicBezTo>
                <a:cubicBezTo>
                  <a:pt x="733296" y="781132"/>
                  <a:pt x="685713" y="746445"/>
                  <a:pt x="646641" y="703245"/>
                </a:cubicBezTo>
                <a:cubicBezTo>
                  <a:pt x="624683" y="740438"/>
                  <a:pt x="593051" y="771016"/>
                  <a:pt x="555141" y="791709"/>
                </a:cubicBezTo>
                <a:cubicBezTo>
                  <a:pt x="512678" y="814575"/>
                  <a:pt x="465072" y="826250"/>
                  <a:pt x="416856" y="825640"/>
                </a:cubicBezTo>
                <a:lnTo>
                  <a:pt x="0" y="825640"/>
                </a:lnTo>
                <a:lnTo>
                  <a:pt x="0" y="17341"/>
                </a:lnTo>
                <a:lnTo>
                  <a:pt x="377596" y="17341"/>
                </a:lnTo>
                <a:cubicBezTo>
                  <a:pt x="433040" y="16434"/>
                  <a:pt x="487515" y="31903"/>
                  <a:pt x="534216" y="61807"/>
                </a:cubicBezTo>
                <a:cubicBezTo>
                  <a:pt x="575666" y="88591"/>
                  <a:pt x="606793" y="128713"/>
                  <a:pt x="622408" y="175540"/>
                </a:cubicBezTo>
                <a:cubicBezTo>
                  <a:pt x="661120" y="122244"/>
                  <a:pt x="711738" y="78708"/>
                  <a:pt x="770196" y="48382"/>
                </a:cubicBezTo>
                <a:cubicBezTo>
                  <a:pt x="831921" y="16414"/>
                  <a:pt x="900451" y="-171"/>
                  <a:pt x="969973" y="17"/>
                </a:cubicBezTo>
                <a:close/>
              </a:path>
            </a:pathLst>
          </a:custGeom>
          <a:solidFill>
            <a:srgbClr val="FFFFFF"/>
          </a:solidFill>
          <a:ln w="9525" cap="flat">
            <a:noFill/>
            <a:prstDash val="solid"/>
            <a:round/>
          </a:ln>
        </p:spPr>
        <p:txBody>
          <a:bodyPr wrap="square" rtlCol="0" anchor="ctr">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52" name="A4Grid"/>
          <p:cNvGrpSpPr/>
          <p:nvPr userDrawn="1"/>
        </p:nvGrpSpPr>
        <p:grpSpPr>
          <a:xfrm>
            <a:off x="0" y="0"/>
            <a:ext cx="9906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dirty="0">
                <a:ln>
                  <a:noFill/>
                </a:ln>
                <a:effectLst/>
                <a:uLnTx/>
                <a:uFillTx/>
                <a:latin typeface="+mn-lt"/>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mn-lt"/>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mn-lt"/>
              </a:endParaRPr>
            </a:p>
          </p:txBody>
        </p:sp>
        <p:sp>
          <p:nvSpPr>
            <p:cNvPr id="63" name="Footnote example"/>
            <p:cNvSpPr txBox="1">
              <a:spLocks noChangeAspect="1"/>
            </p:cNvSpPr>
            <p:nvPr userDrawn="1"/>
          </p:nvSpPr>
          <p:spPr>
            <a:xfrm>
              <a:off x="629398" y="6145200"/>
              <a:ext cx="7283401" cy="415498"/>
            </a:xfrm>
            <a:prstGeom prst="rect">
              <a:avLst/>
            </a:prstGeom>
            <a:noFill/>
          </p:spPr>
          <p:txBody>
            <a:bodyPr wrap="square" lIns="0" tIns="0" rIns="0" bIns="0" rtlCol="0" anchor="b">
              <a:spAutoFit/>
            </a:bodyPr>
            <a:lstStyle/>
            <a:p>
              <a:pPr>
                <a:lnSpc>
                  <a:spcPct val="90000"/>
                </a:lnSpc>
              </a:pPr>
              <a:r>
                <a:rPr lang="en-US" sz="1000" dirty="0">
                  <a:solidFill>
                    <a:schemeClr val="bg1">
                      <a:lumMod val="50000"/>
                    </a:schemeClr>
                  </a:solidFill>
                  <a:latin typeface="+mn-lt"/>
                </a:rPr>
                <a:t>1. xxxx  2. xxxx  3. List footnotes in numerical order. Footnote numbers are not bracketed. Use 10pt font</a:t>
              </a:r>
            </a:p>
            <a:p>
              <a:pPr>
                <a:lnSpc>
                  <a:spcPct val="90000"/>
                </a:lnSpc>
              </a:pPr>
              <a:r>
                <a:rPr lang="en-US" sz="1000" dirty="0">
                  <a:solidFill>
                    <a:schemeClr val="bg1">
                      <a:lumMod val="50000"/>
                    </a:schemeClr>
                  </a:solidFill>
                  <a:latin typeface="+mn-lt"/>
                </a:rPr>
                <a:t>Note: Do not put a period at the end of the note or the source</a:t>
              </a:r>
            </a:p>
            <a:p>
              <a:pPr>
                <a:lnSpc>
                  <a:spcPct val="90000"/>
                </a:lnSpc>
              </a:pPr>
              <a:r>
                <a:rPr lang="en-US" sz="1000" dirty="0">
                  <a:solidFill>
                    <a:schemeClr val="bg1">
                      <a:lumMod val="50000"/>
                    </a:schemeClr>
                  </a:solidFill>
                  <a:latin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0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74563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15986"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291" y="1589"/>
                        <a:ext cx="1289" cy="1587"/>
                      </a:xfrm>
                      <a:prstGeom prst="rect">
                        <a:avLst/>
                      </a:prstGeom>
                    </p:spPr>
                  </p:pic>
                </p:oleObj>
              </mc:Fallback>
            </mc:AlternateContent>
          </a:graphicData>
        </a:graphic>
      </p:graphicFrame>
      <p:sp>
        <p:nvSpPr>
          <p:cNvPr id="7" name="Page"/>
          <p:cNvSpPr txBox="1"/>
          <p:nvPr userDrawn="1"/>
        </p:nvSpPr>
        <p:spPr bwMode="white">
          <a:xfrm>
            <a:off x="8953200" y="6404400"/>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
        <p:nvSpPr>
          <p:cNvPr id="10" name="Rectangle 9"/>
          <p:cNvSpPr/>
          <p:nvPr userDrawn="1">
            <p:custDataLst>
              <p:tags r:id="rId4"/>
            </p:custDataLst>
          </p:nvPr>
        </p:nvSpPr>
        <p:spPr>
          <a:xfrm>
            <a:off x="1768127" y="4552778"/>
            <a:ext cx="871200" cy="872423"/>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dirty="0">
              <a:solidFill>
                <a:srgbClr val="FFFFFF">
                  <a:lumMod val="100000"/>
                </a:srgbClr>
              </a:solidFill>
              <a:latin typeface="Trebuchet MS" panose="020B0603020202020204" pitchFamily="34" charset="0"/>
            </a:endParaRPr>
          </a:p>
        </p:txBody>
      </p:sp>
      <p:sp>
        <p:nvSpPr>
          <p:cNvPr id="11" name="Rectangle 10"/>
          <p:cNvSpPr/>
          <p:nvPr userDrawn="1">
            <p:custDataLst>
              <p:tags r:id="rId5"/>
            </p:custDataLst>
          </p:nvPr>
        </p:nvSpPr>
        <p:spPr>
          <a:xfrm>
            <a:off x="2782655" y="4552778"/>
            <a:ext cx="1314000" cy="1312672"/>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000" dirty="0">
              <a:solidFill>
                <a:srgbClr val="FFFFFF">
                  <a:lumMod val="100000"/>
                </a:srgbClr>
              </a:solidFill>
              <a:latin typeface="Trebuchet MS" panose="020B0603020202020204" pitchFamily="34" charset="0"/>
            </a:endParaRPr>
          </a:p>
        </p:txBody>
      </p:sp>
      <p:sp>
        <p:nvSpPr>
          <p:cNvPr id="12" name="Rectangle 11"/>
          <p:cNvSpPr/>
          <p:nvPr userDrawn="1">
            <p:custDataLst>
              <p:tags r:id="rId6"/>
            </p:custDataLst>
          </p:nvPr>
        </p:nvSpPr>
        <p:spPr>
          <a:xfrm>
            <a:off x="630000" y="914399"/>
            <a:ext cx="3466655" cy="3494377"/>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0" dirty="0">
                <a:solidFill>
                  <a:srgbClr val="FFFFFF">
                    <a:lumMod val="100000"/>
                  </a:srgbClr>
                </a:solidFill>
                <a:latin typeface="Trebuchet MS" panose="020B0603020202020204" pitchFamily="34" charset="0"/>
              </a:rPr>
              <a:t>Agenda</a:t>
            </a:r>
          </a:p>
        </p:txBody>
      </p:sp>
    </p:spTree>
    <p:extLst>
      <p:ext uri="{BB962C8B-B14F-4D97-AF65-F5344CB8AC3E}">
        <p14:creationId xmlns:p14="http://schemas.microsoft.com/office/powerpoint/2010/main" val="2039492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8647200" cy="2041200"/>
          </a:xfrm>
        </p:spPr>
        <p:txBody>
          <a:bodyPr anchor="t">
            <a:noAutofit/>
          </a:bodyPr>
          <a:lstStyle>
            <a:lvl1pPr>
              <a:defRPr sz="4400">
                <a:solidFill>
                  <a:schemeClr val="bg1"/>
                </a:solidFill>
                <a:latin typeface="+mj-lt"/>
                <a:sym typeface="Trebuchet MS" panose="020B0603020202020204" pitchFamily="34" charset="0"/>
              </a:defRPr>
            </a:lvl1pPr>
          </a:lstStyle>
          <a:p>
            <a:r>
              <a:rPr lang="en-US" dirty="0"/>
              <a:t>Click to add section title</a:t>
            </a:r>
          </a:p>
        </p:txBody>
      </p:sp>
      <p:cxnSp>
        <p:nvCxnSpPr>
          <p:cNvPr id="148" name="Line"/>
          <p:cNvCxnSpPr/>
          <p:nvPr userDrawn="1"/>
        </p:nvCxnSpPr>
        <p:spPr bwMode="white">
          <a:xfrm>
            <a:off x="630000" y="3680016"/>
            <a:ext cx="9276000"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61102"/>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17010"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291" y="1589"/>
                        <a:ext cx="1289" cy="1587"/>
                      </a:xfrm>
                      <a:prstGeom prst="rect">
                        <a:avLst/>
                      </a:prstGeom>
                    </p:spPr>
                  </p:pic>
                </p:oleObj>
              </mc:Fallback>
            </mc:AlternateContent>
          </a:graphicData>
        </a:graphic>
      </p:graphicFrame>
      <p:sp>
        <p:nvSpPr>
          <p:cNvPr id="7" name="Page"/>
          <p:cNvSpPr txBox="1"/>
          <p:nvPr userDrawn="1"/>
        </p:nvSpPr>
        <p:spPr bwMode="white">
          <a:xfrm>
            <a:off x="8953200" y="6404400"/>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
        <p:nvSpPr>
          <p:cNvPr id="10" name="Rectangle 9"/>
          <p:cNvSpPr/>
          <p:nvPr userDrawn="1">
            <p:custDataLst>
              <p:tags r:id="rId4"/>
            </p:custDataLst>
          </p:nvPr>
        </p:nvSpPr>
        <p:spPr>
          <a:xfrm>
            <a:off x="885601" y="2668041"/>
            <a:ext cx="8135400" cy="3201026"/>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0" dirty="0">
              <a:solidFill>
                <a:srgbClr val="FFFFFF">
                  <a:lumMod val="100000"/>
                </a:srgbClr>
              </a:solidFill>
              <a:latin typeface="Trebuchet MS" panose="020B0603020202020204" pitchFamily="34" charset="0"/>
            </a:endParaRPr>
          </a:p>
        </p:txBody>
      </p:sp>
      <p:sp>
        <p:nvSpPr>
          <p:cNvPr id="11" name="Rectangle 10"/>
          <p:cNvSpPr/>
          <p:nvPr userDrawn="1">
            <p:custDataLst>
              <p:tags r:id="rId5"/>
            </p:custDataLst>
          </p:nvPr>
        </p:nvSpPr>
        <p:spPr>
          <a:xfrm>
            <a:off x="885601" y="1457802"/>
            <a:ext cx="917155" cy="918000"/>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dirty="0">
              <a:solidFill>
                <a:srgbClr val="FFFFFF">
                  <a:lumMod val="100000"/>
                </a:srgbClr>
              </a:solidFill>
              <a:latin typeface="Trebuchet MS" panose="020B0603020202020204" pitchFamily="34" charset="0"/>
            </a:endParaRPr>
          </a:p>
        </p:txBody>
      </p:sp>
    </p:spTree>
    <p:extLst>
      <p:ext uri="{BB962C8B-B14F-4D97-AF65-F5344CB8AC3E}">
        <p14:creationId xmlns:p14="http://schemas.microsoft.com/office/powerpoint/2010/main" val="763827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18034"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291" y="1589"/>
                        <a:ext cx="1289" cy="1587"/>
                      </a:xfrm>
                      <a:prstGeom prst="rect">
                        <a:avLst/>
                      </a:prstGeom>
                    </p:spPr>
                  </p:pic>
                </p:oleObj>
              </mc:Fallback>
            </mc:AlternateContent>
          </a:graphicData>
        </a:graphic>
      </p:graphicFrame>
      <p:sp>
        <p:nvSpPr>
          <p:cNvPr id="7" name="Page"/>
          <p:cNvSpPr txBox="1"/>
          <p:nvPr userDrawn="1"/>
        </p:nvSpPr>
        <p:spPr bwMode="white">
          <a:xfrm>
            <a:off x="8953200" y="6404400"/>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cxnSp>
        <p:nvCxnSpPr>
          <p:cNvPr id="10" name="Straight Connector 9"/>
          <p:cNvCxnSpPr/>
          <p:nvPr userDrawn="1">
            <p:custDataLst>
              <p:tags r:id="rId4"/>
            </p:custDataLst>
          </p:nvPr>
        </p:nvCxnSpPr>
        <p:spPr>
          <a:xfrm>
            <a:off x="628650" y="1206001"/>
            <a:ext cx="9277350" cy="0"/>
          </a:xfrm>
          <a:prstGeom prst="line">
            <a:avLst/>
          </a:prstGeom>
          <a:noFill/>
          <a:ln w="9525" cap="rnd" cmpd="sng" algn="ctr">
            <a:solidFill>
              <a:srgbClr val="FFFFFF"/>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11" name="Rectangle 10"/>
          <p:cNvSpPr/>
          <p:nvPr userDrawn="1">
            <p:custDataLst>
              <p:tags r:id="rId5"/>
            </p:custDataLst>
          </p:nvPr>
        </p:nvSpPr>
        <p:spPr>
          <a:xfrm>
            <a:off x="628650" y="622800"/>
            <a:ext cx="718999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800" dirty="0">
                <a:solidFill>
                  <a:schemeClr val="bg1">
                    <a:lumMod val="100000"/>
                  </a:schemeClr>
                </a:solidFill>
                <a:latin typeface="Trebuchet MS" panose="020B0603020202020204" pitchFamily="34" charset="0"/>
              </a:rPr>
              <a:t>Agenda</a:t>
            </a:r>
          </a:p>
        </p:txBody>
      </p:sp>
    </p:spTree>
    <p:extLst>
      <p:ext uri="{BB962C8B-B14F-4D97-AF65-F5344CB8AC3E}">
        <p14:creationId xmlns:p14="http://schemas.microsoft.com/office/powerpoint/2010/main" val="3377704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19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291" y="1589"/>
                        <a:ext cx="1289"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942757" y="0"/>
            <a:ext cx="416951" cy="6858000"/>
          </a:xfrm>
          <a:prstGeom prst="rect">
            <a:avLst/>
          </a:prstGeom>
        </p:spPr>
      </p:pic>
      <p:sp>
        <p:nvSpPr>
          <p:cNvPr id="66" name="PanelGray"/>
          <p:cNvSpPr/>
          <p:nvPr userDrawn="1"/>
        </p:nvSpPr>
        <p:spPr bwMode="white">
          <a:xfrm>
            <a:off x="3360801" y="-1309"/>
            <a:ext cx="6545199"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mn-lt"/>
              <a:sym typeface="Trebuchet MS" panose="020B0603020202020204" pitchFamily="34" charset="0"/>
            </a:endParaRPr>
          </a:p>
        </p:txBody>
      </p:sp>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6"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
        <p:nvSpPr>
          <p:cNvPr id="3" name="TextBox 2"/>
          <p:cNvSpPr txBox="1"/>
          <p:nvPr userDrawn="1"/>
        </p:nvSpPr>
        <p:spPr>
          <a:xfrm>
            <a:off x="630000" y="2682000"/>
            <a:ext cx="2473200"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800" dirty="0">
                <a:solidFill>
                  <a:schemeClr val="bg1"/>
                </a:solidFill>
              </a:rPr>
              <a:t>Agenda</a:t>
            </a:r>
          </a:p>
        </p:txBody>
      </p:sp>
    </p:spTree>
    <p:extLst>
      <p:ext uri="{BB962C8B-B14F-4D97-AF65-F5344CB8AC3E}">
        <p14:creationId xmlns:p14="http://schemas.microsoft.com/office/powerpoint/2010/main" val="121497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20082"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291" y="1589"/>
                        <a:ext cx="1289" cy="1587"/>
                      </a:xfrm>
                      <a:prstGeom prst="rect">
                        <a:avLst/>
                      </a:prstGeom>
                    </p:spPr>
                  </p:pic>
                </p:oleObj>
              </mc:Fallback>
            </mc:AlternateContent>
          </a:graphicData>
        </a:graphic>
      </p:graphicFrame>
      <p:sp>
        <p:nvSpPr>
          <p:cNvPr id="5"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
        <p:nvSpPr>
          <p:cNvPr id="8" name="Rectangle 7"/>
          <p:cNvSpPr/>
          <p:nvPr userDrawn="1">
            <p:custDataLst>
              <p:tags r:id="rId4"/>
            </p:custDataLst>
          </p:nvPr>
        </p:nvSpPr>
        <p:spPr>
          <a:xfrm>
            <a:off x="1768124" y="4552778"/>
            <a:ext cx="871200" cy="872423"/>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dirty="0">
              <a:solidFill>
                <a:schemeClr val="tx1">
                  <a:lumMod val="100000"/>
                </a:schemeClr>
              </a:solidFill>
              <a:latin typeface="Trebuchet MS" panose="020B0603020202020204" pitchFamily="34" charset="0"/>
            </a:endParaRPr>
          </a:p>
        </p:txBody>
      </p:sp>
      <p:sp>
        <p:nvSpPr>
          <p:cNvPr id="9" name="Rectangle 8"/>
          <p:cNvSpPr/>
          <p:nvPr userDrawn="1">
            <p:custDataLst>
              <p:tags r:id="rId5"/>
            </p:custDataLst>
          </p:nvPr>
        </p:nvSpPr>
        <p:spPr>
          <a:xfrm>
            <a:off x="2782653" y="4552778"/>
            <a:ext cx="1314000" cy="1312672"/>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200" dirty="0">
              <a:solidFill>
                <a:schemeClr val="tx1">
                  <a:lumMod val="100000"/>
                </a:schemeClr>
              </a:solidFill>
              <a:latin typeface="Trebuchet MS" panose="020B0603020202020204" pitchFamily="34" charset="0"/>
            </a:endParaRPr>
          </a:p>
        </p:txBody>
      </p:sp>
      <p:sp>
        <p:nvSpPr>
          <p:cNvPr id="10" name="Rectangle 9"/>
          <p:cNvSpPr/>
          <p:nvPr userDrawn="1">
            <p:custDataLst>
              <p:tags r:id="rId6"/>
            </p:custDataLst>
          </p:nvPr>
        </p:nvSpPr>
        <p:spPr>
          <a:xfrm>
            <a:off x="629997" y="914399"/>
            <a:ext cx="3466655" cy="3494377"/>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0" dirty="0">
                <a:solidFill>
                  <a:schemeClr val="accent4">
                    <a:lumMod val="100000"/>
                  </a:schemeClr>
                </a:solidFill>
                <a:latin typeface="Trebuchet MS" panose="020B0603020202020204" pitchFamily="34" charset="0"/>
              </a:rPr>
              <a:t>Agenda</a:t>
            </a:r>
          </a:p>
        </p:txBody>
      </p:sp>
    </p:spTree>
    <p:extLst>
      <p:ext uri="{BB962C8B-B14F-4D97-AF65-F5344CB8AC3E}">
        <p14:creationId xmlns:p14="http://schemas.microsoft.com/office/powerpoint/2010/main" val="126962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21106"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291" y="1589"/>
                        <a:ext cx="1289" cy="1587"/>
                      </a:xfrm>
                      <a:prstGeom prst="rect">
                        <a:avLst/>
                      </a:prstGeom>
                    </p:spPr>
                  </p:pic>
                </p:oleObj>
              </mc:Fallback>
            </mc:AlternateContent>
          </a:graphicData>
        </a:graphic>
      </p:graphicFrame>
      <p:sp>
        <p:nvSpPr>
          <p:cNvPr id="5"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
        <p:nvSpPr>
          <p:cNvPr id="8" name="Rectangle 7"/>
          <p:cNvSpPr/>
          <p:nvPr userDrawn="1">
            <p:custDataLst>
              <p:tags r:id="rId4"/>
            </p:custDataLst>
          </p:nvPr>
        </p:nvSpPr>
        <p:spPr>
          <a:xfrm>
            <a:off x="885598" y="2668041"/>
            <a:ext cx="8135400" cy="3201026"/>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0" dirty="0">
              <a:solidFill>
                <a:schemeClr val="accent4">
                  <a:lumMod val="100000"/>
                </a:schemeClr>
              </a:solidFill>
              <a:latin typeface="Trebuchet MS" panose="020B0603020202020204" pitchFamily="34" charset="0"/>
            </a:endParaRPr>
          </a:p>
        </p:txBody>
      </p:sp>
      <p:sp>
        <p:nvSpPr>
          <p:cNvPr id="9" name="Rectangle 8"/>
          <p:cNvSpPr/>
          <p:nvPr userDrawn="1">
            <p:custDataLst>
              <p:tags r:id="rId5"/>
            </p:custDataLst>
          </p:nvPr>
        </p:nvSpPr>
        <p:spPr>
          <a:xfrm>
            <a:off x="885598" y="1457802"/>
            <a:ext cx="917155" cy="918000"/>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3170692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22130"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291" y="1589"/>
                        <a:ext cx="1289" cy="1587"/>
                      </a:xfrm>
                      <a:prstGeom prst="rect">
                        <a:avLst/>
                      </a:prstGeom>
                    </p:spPr>
                  </p:pic>
                </p:oleObj>
              </mc:Fallback>
            </mc:AlternateContent>
          </a:graphicData>
        </a:graphic>
      </p:graphicFrame>
      <p:sp>
        <p:nvSpPr>
          <p:cNvPr id="5"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cxnSp>
        <p:nvCxnSpPr>
          <p:cNvPr id="8" name="Straight Connector 7"/>
          <p:cNvCxnSpPr/>
          <p:nvPr userDrawn="1">
            <p:custDataLst>
              <p:tags r:id="rId4"/>
            </p:custDataLst>
          </p:nvPr>
        </p:nvCxnSpPr>
        <p:spPr>
          <a:xfrm>
            <a:off x="628650" y="1205999"/>
            <a:ext cx="9277350" cy="0"/>
          </a:xfrm>
          <a:prstGeom prst="line">
            <a:avLst/>
          </a:prstGeom>
          <a:noFill/>
          <a:ln w="9525" cap="rnd" cmpd="sng" algn="ctr">
            <a:solidFill>
              <a:schemeClr val="accent4"/>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9" name="Rectangle 8"/>
          <p:cNvSpPr/>
          <p:nvPr userDrawn="1">
            <p:custDataLst>
              <p:tags r:id="rId5"/>
            </p:custDataLst>
          </p:nvPr>
        </p:nvSpPr>
        <p:spPr>
          <a:xfrm>
            <a:off x="628650" y="622799"/>
            <a:ext cx="718999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400" dirty="0">
                <a:solidFill>
                  <a:schemeClr val="accent4">
                    <a:lumMod val="100000"/>
                  </a:schemeClr>
                </a:solidFill>
                <a:latin typeface="Trebuchet MS" panose="020B0603020202020204" pitchFamily="34" charset="0"/>
              </a:rPr>
              <a:t>Agenda</a:t>
            </a:r>
          </a:p>
        </p:txBody>
      </p:sp>
    </p:spTree>
    <p:extLst>
      <p:ext uri="{BB962C8B-B14F-4D97-AF65-F5344CB8AC3E}">
        <p14:creationId xmlns:p14="http://schemas.microsoft.com/office/powerpoint/2010/main" val="2368984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231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291" y="1589"/>
                        <a:ext cx="1289"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942757" y="0"/>
            <a:ext cx="416951" cy="6858000"/>
          </a:xfrm>
          <a:prstGeom prst="rect">
            <a:avLst/>
          </a:prstGeom>
        </p:spPr>
      </p:pic>
      <p:sp>
        <p:nvSpPr>
          <p:cNvPr id="65" name="PanelWhite"/>
          <p:cNvSpPr/>
          <p:nvPr userDrawn="1"/>
        </p:nvSpPr>
        <p:spPr bwMode="white">
          <a:xfrm>
            <a:off x="3360801" y="-1309"/>
            <a:ext cx="6545199"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2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
        <p:nvSpPr>
          <p:cNvPr id="3" name="TextBox 2"/>
          <p:cNvSpPr txBox="1"/>
          <p:nvPr userDrawn="1"/>
        </p:nvSpPr>
        <p:spPr>
          <a:xfrm>
            <a:off x="630000" y="2682000"/>
            <a:ext cx="2473200"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0057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241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291" y="1589"/>
                        <a:ext cx="1289" cy="1587"/>
                      </a:xfrm>
                      <a:prstGeom prst="rect">
                        <a:avLst/>
                      </a:prstGeom>
                    </p:spPr>
                  </p:pic>
                </p:oleObj>
              </mc:Fallback>
            </mc:AlternateContent>
          </a:graphicData>
        </a:graphic>
      </p:graphicFrame>
      <p:sp>
        <p:nvSpPr>
          <p:cNvPr id="63" name="ArrowPanelWhite"/>
          <p:cNvSpPr/>
          <p:nvPr userDrawn="1"/>
        </p:nvSpPr>
        <p:spPr bwMode="ltGray">
          <a:xfrm>
            <a:off x="0" y="0"/>
            <a:ext cx="3357450"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4"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618677" y="2711240"/>
            <a:ext cx="2224800" cy="1435521"/>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dirty="0">
                <a:solidFill>
                  <a:schemeClr val="tx2"/>
                </a:solidFill>
                <a:latin typeface="+mn-lt"/>
                <a:sym typeface="Trebuchet MS" panose="020B0603020202020204" pitchFamily="34" charset="0"/>
              </a:rPr>
              <a:t>Table of contents</a:t>
            </a:r>
          </a:p>
        </p:txBody>
      </p:sp>
      <p:sp>
        <p:nvSpPr>
          <p:cNvPr id="10"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403086"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777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3346050" y="0"/>
            <a:ext cx="417600" cy="6858000"/>
          </a:xfrm>
          <a:prstGeom prst="rect">
            <a:avLst/>
          </a:prstGeom>
        </p:spPr>
      </p:pic>
      <p:sp>
        <p:nvSpPr>
          <p:cNvPr id="26" name="PanelGray"/>
          <p:cNvSpPr/>
          <p:nvPr userDrawn="1"/>
        </p:nvSpPr>
        <p:spPr bwMode="white">
          <a:xfrm>
            <a:off x="0" y="0"/>
            <a:ext cx="33578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Date Placeholder 1"/>
          <p:cNvSpPr>
            <a:spLocks noGrp="1"/>
          </p:cNvSpPr>
          <p:nvPr userDrawn="1">
            <p:ph type="dt" sz="half" idx="31"/>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7" name="Title 4"/>
          <p:cNvSpPr>
            <a:spLocks noGrp="1"/>
          </p:cNvSpPr>
          <p:nvPr userDrawn="1">
            <p:ph type="title" hasCustomPrompt="1"/>
          </p:nvPr>
        </p:nvSpPr>
        <p:spPr>
          <a:xfrm>
            <a:off x="630000" y="2681103"/>
            <a:ext cx="2474125" cy="1495794"/>
          </a:xfrm>
          <a:prstGeom prst="rect">
            <a:avLst/>
          </a:prstGeom>
        </p:spPr>
        <p:txBody>
          <a:bodyPr anchor="ctr">
            <a:noAutofit/>
          </a:bodyPr>
          <a:lstStyle>
            <a:lvl1pPr>
              <a:defRPr sz="28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5805575" y="0"/>
            <a:ext cx="417600" cy="6858000"/>
          </a:xfrm>
          <a:prstGeom prst="rect">
            <a:avLst/>
          </a:prstGeom>
        </p:spPr>
      </p:pic>
      <p:sp>
        <p:nvSpPr>
          <p:cNvPr id="13" name="PanelGray"/>
          <p:cNvSpPr/>
          <p:nvPr userDrawn="1"/>
        </p:nvSpPr>
        <p:spPr bwMode="white">
          <a:xfrm>
            <a:off x="1" y="0"/>
            <a:ext cx="581172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630000" y="622800"/>
            <a:ext cx="4948249" cy="388800"/>
          </a:xfrm>
          <a:prstGeom prst="rect">
            <a:avLst/>
          </a:prstGeom>
        </p:spPr>
        <p:txBody>
          <a:bodyPr/>
          <a:lstStyle>
            <a:lvl1pPr>
              <a:defRPr sz="28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solidFill>
                <a:latin typeface="+mn-lt"/>
                <a:sym typeface="Trebuchet MS" panose="020B0603020202020204" pitchFamily="34" charset="0"/>
              </a:rPr>
              <a:t>2. PC</a:t>
            </a:r>
            <a:r>
              <a:rPr lang="ja-JP" altLang="en-US" sz="700">
                <a:solidFill>
                  <a:schemeClr val="bg1"/>
                </a:solidFill>
                <a:latin typeface="+mn-lt"/>
                <a:sym typeface="Trebuchet MS" panose="020B0603020202020204" pitchFamily="34" charset="0"/>
              </a:rPr>
              <a:t>メーカーの商品ランナップ最適化（最終版）</a:t>
            </a:r>
            <a:r>
              <a:rPr lang="en-US" altLang="ja-JP" sz="700">
                <a:solidFill>
                  <a:schemeClr val="bg1"/>
                </a:solidFill>
                <a:latin typeface="+mn-lt"/>
                <a:sym typeface="Trebuchet MS" panose="020B0603020202020204" pitchFamily="34" charset="0"/>
              </a:rPr>
              <a: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63158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2942757" y="0"/>
            <a:ext cx="416951" cy="6858000"/>
          </a:xfrm>
          <a:prstGeom prst="rect">
            <a:avLst/>
          </a:prstGeom>
        </p:spPr>
      </p:pic>
      <p:sp>
        <p:nvSpPr>
          <p:cNvPr id="66" name="PanelGray"/>
          <p:cNvSpPr/>
          <p:nvPr userDrawn="1"/>
        </p:nvSpPr>
        <p:spPr bwMode="white">
          <a:xfrm>
            <a:off x="3360801" y="-1309"/>
            <a:ext cx="6545199"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mn-lt"/>
              <a:sym typeface="Trebuchet MS" panose="020B0603020202020204" pitchFamily="34" charset="0"/>
            </a:endParaRPr>
          </a:p>
        </p:txBody>
      </p:sp>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7912800" y="6405036"/>
            <a:ext cx="1033200"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6"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Title 4"/>
          <p:cNvSpPr>
            <a:spLocks noGrp="1"/>
          </p:cNvSpPr>
          <p:nvPr>
            <p:ph type="title" hasCustomPrompt="1"/>
          </p:nvPr>
        </p:nvSpPr>
        <p:spPr>
          <a:xfrm>
            <a:off x="630000" y="2681103"/>
            <a:ext cx="2473200" cy="1495794"/>
          </a:xfrm>
          <a:prstGeom prst="rect">
            <a:avLst/>
          </a:prstGeom>
        </p:spPr>
        <p:txBody>
          <a:bodyPr anchor="ctr">
            <a:noAutofit/>
          </a:bodyPr>
          <a:lstStyle>
            <a:lvl1pPr>
              <a:defRPr sz="2800">
                <a:solidFill>
                  <a:schemeClr val="bg1"/>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altLang="ja-JP" sz="700">
                <a:solidFill>
                  <a:schemeClr val="bg1">
                    <a:lumMod val="50000"/>
                  </a:schemeClr>
                </a:solidFill>
                <a:latin typeface="+mn-lt"/>
                <a:sym typeface="Trebuchet MS" panose="020B0603020202020204" pitchFamily="34" charset="0"/>
              </a:rPr>
              <a:t>2. PC</a:t>
            </a:r>
            <a:r>
              <a:rPr lang="ja-JP" altLang="en-US" sz="700">
                <a:solidFill>
                  <a:schemeClr val="bg1">
                    <a:lumMod val="50000"/>
                  </a:schemeClr>
                </a:solidFill>
                <a:latin typeface="+mn-lt"/>
                <a:sym typeface="Trebuchet MS" panose="020B0603020202020204" pitchFamily="34" charset="0"/>
              </a:rPr>
              <a:t>メーカーの商品ランナップ最適化（最終版）</a:t>
            </a:r>
            <a:r>
              <a:rPr lang="en-US" altLang="ja-JP" sz="700">
                <a:solidFill>
                  <a:schemeClr val="bg1">
                    <a:lumMod val="50000"/>
                  </a:schemeClr>
                </a:solidFill>
                <a:latin typeface="+mn-lt"/>
                <a:sym typeface="Trebuchet MS" panose="020B0603020202020204" pitchFamily="34" charset="0"/>
              </a:rPr>
              <a: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theme" Target="../theme/theme1.xml"/><Relationship Id="rId69" Type="http://schemas.openxmlformats.org/officeDocument/2006/relationships/vmlDrawing" Target="../drawings/vmlDrawing1.v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70" Type="http://schemas.openxmlformats.org/officeDocument/2006/relationships/tags" Target="../tags/tag2.xml"/><Relationship Id="rId71" Type="http://schemas.openxmlformats.org/officeDocument/2006/relationships/oleObject" Target="../embeddings/oleObject1.bin"/><Relationship Id="rId72" Type="http://schemas.openxmlformats.org/officeDocument/2006/relationships/image" Target="../media/image1.emf"/><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404131075"/>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56790"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291" y="1589"/>
                        <a:ext cx="1289" cy="1587"/>
                      </a:xfrm>
                      <a:prstGeom prst="rect">
                        <a:avLst/>
                      </a:prstGeom>
                    </p:spPr>
                  </p:pic>
                </p:oleObj>
              </mc:Fallback>
            </mc:AlternateContent>
          </a:graphicData>
        </a:graphic>
      </p:graphicFrame>
      <p:sp>
        <p:nvSpPr>
          <p:cNvPr id="12"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4" name="Text Placeholder 3"/>
          <p:cNvSpPr>
            <a:spLocks noGrp="1"/>
          </p:cNvSpPr>
          <p:nvPr>
            <p:ph type="body" idx="1"/>
          </p:nvPr>
        </p:nvSpPr>
        <p:spPr>
          <a:xfrm>
            <a:off x="630000" y="2080800"/>
            <a:ext cx="8647200" cy="37872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9" name="Title Placeholder 1"/>
          <p:cNvSpPr>
            <a:spLocks noGrp="1"/>
          </p:cNvSpPr>
          <p:nvPr>
            <p:ph type="title"/>
          </p:nvPr>
        </p:nvSpPr>
        <p:spPr>
          <a:xfrm>
            <a:off x="630000" y="622800"/>
            <a:ext cx="8647200" cy="332399"/>
          </a:xfrm>
          <a:prstGeom prst="rect">
            <a:avLst/>
          </a:prstGeom>
        </p:spPr>
        <p:txBody>
          <a:bodyPr vert="horz" wrap="square" lIns="0" tIns="0" rIns="0" bIns="0" rtlCol="0" anchor="t">
            <a:spAutoFit/>
          </a:bodyPr>
          <a:lstStyle/>
          <a:p>
            <a:r>
              <a:rPr lang="en-US" dirty="0"/>
              <a:t>Click to add titl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1" r:id="rId8"/>
    <p:sldLayoutId id="2147485149" r:id="rId9"/>
    <p:sldLayoutId id="2147485087" r:id="rId10"/>
    <p:sldLayoutId id="2147485112" r:id="rId11"/>
    <p:sldLayoutId id="2147485155" r:id="rId12"/>
    <p:sldLayoutId id="2147485163" r:id="rId13"/>
    <p:sldLayoutId id="2147485109" r:id="rId14"/>
    <p:sldLayoutId id="2147485164" r:id="rId15"/>
    <p:sldLayoutId id="2147485110" r:id="rId16"/>
    <p:sldLayoutId id="2147485165" r:id="rId17"/>
    <p:sldLayoutId id="2147485156" r:id="rId18"/>
    <p:sldLayoutId id="2147485166"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0" r:id="rId28"/>
    <p:sldLayoutId id="2147485159" r:id="rId29"/>
    <p:sldLayoutId id="2147485119" r:id="rId30"/>
    <p:sldLayoutId id="2147485184" r:id="rId31"/>
    <p:sldLayoutId id="2147485137" r:id="rId32"/>
    <p:sldLayoutId id="2147485120" r:id="rId33"/>
    <p:sldLayoutId id="2147485121" r:id="rId34"/>
    <p:sldLayoutId id="2147485141" r:id="rId35"/>
    <p:sldLayoutId id="2147485162" r:id="rId36"/>
    <p:sldLayoutId id="2147485139" r:id="rId37"/>
    <p:sldLayoutId id="2147485140" r:id="rId38"/>
    <p:sldLayoutId id="2147485122" r:id="rId39"/>
    <p:sldLayoutId id="2147485123" r:id="rId40"/>
    <p:sldLayoutId id="2147485151" r:id="rId41"/>
    <p:sldLayoutId id="2147485167" r:id="rId42"/>
    <p:sldLayoutId id="2147485127" r:id="rId43"/>
    <p:sldLayoutId id="2147485168" r:id="rId44"/>
    <p:sldLayoutId id="2147485126" r:id="rId45"/>
    <p:sldLayoutId id="2147485169" r:id="rId46"/>
    <p:sldLayoutId id="2147485153" r:id="rId47"/>
    <p:sldLayoutId id="2147485170" r:id="rId48"/>
    <p:sldLayoutId id="2147485128" r:id="rId49"/>
    <p:sldLayoutId id="2147485129" r:id="rId50"/>
    <p:sldLayoutId id="2147485130" r:id="rId51"/>
    <p:sldLayoutId id="2147485131" r:id="rId52"/>
    <p:sldLayoutId id="2147485171" r:id="rId53"/>
    <p:sldLayoutId id="2147485133" r:id="rId54"/>
    <p:sldLayoutId id="2147485144" r:id="rId55"/>
    <p:sldLayoutId id="2147485134" r:id="rId56"/>
    <p:sldLayoutId id="2147485146" r:id="rId57"/>
    <p:sldLayoutId id="2147485147"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0" userDrawn="1">
          <p15:clr>
            <a:srgbClr val="F26B43"/>
          </p15:clr>
        </p15:guide>
        <p15:guide id="2" pos="395" userDrawn="1">
          <p15:clr>
            <a:srgbClr val="F26B43"/>
          </p15:clr>
        </p15:guide>
        <p15:guide id="3" pos="5845" userDrawn="1">
          <p15:clr>
            <a:srgbClr val="F26B43"/>
          </p15:clr>
        </p15:guide>
        <p15:guide id="4" orient="horz" pos="387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tags" Target="../tags/tag100.xml"/><Relationship Id="rId4" Type="http://schemas.openxmlformats.org/officeDocument/2006/relationships/slideLayout" Target="../slideLayouts/slideLayout3.xml"/><Relationship Id="rId5" Type="http://schemas.openxmlformats.org/officeDocument/2006/relationships/notesSlide" Target="../notesSlides/notesSlide1.xml"/><Relationship Id="rId6" Type="http://schemas.openxmlformats.org/officeDocument/2006/relationships/oleObject" Target="../embeddings/oleObject15.bin"/><Relationship Id="rId7" Type="http://schemas.openxmlformats.org/officeDocument/2006/relationships/image" Target="../media/image8.emf"/><Relationship Id="rId1" Type="http://schemas.openxmlformats.org/officeDocument/2006/relationships/vmlDrawing" Target="../drawings/vmlDrawing15.vml"/><Relationship Id="rId2" Type="http://schemas.openxmlformats.org/officeDocument/2006/relationships/tags" Target="../tags/tag99.xml"/></Relationships>
</file>

<file path=ppt/slides/_rels/slide3.xml.rels><?xml version="1.0" encoding="UTF-8" standalone="yes"?>
<Relationships xmlns="http://schemas.openxmlformats.org/package/2006/relationships"><Relationship Id="rId3" Type="http://schemas.openxmlformats.org/officeDocument/2006/relationships/tags" Target="../tags/tag102.xml"/><Relationship Id="rId4" Type="http://schemas.openxmlformats.org/officeDocument/2006/relationships/slideLayout" Target="../slideLayouts/slideLayout3.xml"/><Relationship Id="rId5" Type="http://schemas.openxmlformats.org/officeDocument/2006/relationships/notesSlide" Target="../notesSlides/notesSlide2.xml"/><Relationship Id="rId6" Type="http://schemas.openxmlformats.org/officeDocument/2006/relationships/oleObject" Target="../embeddings/oleObject16.bin"/><Relationship Id="rId7" Type="http://schemas.openxmlformats.org/officeDocument/2006/relationships/image" Target="../media/image8.emf"/><Relationship Id="rId1" Type="http://schemas.openxmlformats.org/officeDocument/2006/relationships/vmlDrawing" Target="../drawings/vmlDrawing16.vml"/><Relationship Id="rId2" Type="http://schemas.openxmlformats.org/officeDocument/2006/relationships/tags" Target="../tags/tag101.xml"/></Relationships>
</file>

<file path=ppt/slides/_rels/slide4.xml.rels><?xml version="1.0" encoding="UTF-8" standalone="yes"?>
<Relationships xmlns="http://schemas.openxmlformats.org/package/2006/relationships"><Relationship Id="rId3" Type="http://schemas.openxmlformats.org/officeDocument/2006/relationships/tags" Target="../tags/tag104.xml"/><Relationship Id="rId4" Type="http://schemas.openxmlformats.org/officeDocument/2006/relationships/slideLayout" Target="../slideLayouts/slideLayout3.xml"/><Relationship Id="rId5" Type="http://schemas.openxmlformats.org/officeDocument/2006/relationships/notesSlide" Target="../notesSlides/notesSlide3.xml"/><Relationship Id="rId6" Type="http://schemas.openxmlformats.org/officeDocument/2006/relationships/oleObject" Target="../embeddings/oleObject17.bin"/><Relationship Id="rId7" Type="http://schemas.openxmlformats.org/officeDocument/2006/relationships/image" Target="../media/image8.emf"/><Relationship Id="rId1" Type="http://schemas.openxmlformats.org/officeDocument/2006/relationships/vmlDrawing" Target="../drawings/vmlDrawing17.vml"/><Relationship Id="rId2" Type="http://schemas.openxmlformats.org/officeDocument/2006/relationships/tags" Target="../tags/tag103.xml"/></Relationships>
</file>

<file path=ppt/slides/_rels/slide5.xml.rels><?xml version="1.0" encoding="UTF-8" standalone="yes"?>
<Relationships xmlns="http://schemas.openxmlformats.org/package/2006/relationships"><Relationship Id="rId3" Type="http://schemas.openxmlformats.org/officeDocument/2006/relationships/tags" Target="../tags/tag106.xml"/><Relationship Id="rId4" Type="http://schemas.openxmlformats.org/officeDocument/2006/relationships/slideLayout" Target="../slideLayouts/slideLayout3.xml"/><Relationship Id="rId5" Type="http://schemas.openxmlformats.org/officeDocument/2006/relationships/notesSlide" Target="../notesSlides/notesSlide4.xml"/><Relationship Id="rId6" Type="http://schemas.openxmlformats.org/officeDocument/2006/relationships/oleObject" Target="../embeddings/oleObject18.bin"/><Relationship Id="rId7" Type="http://schemas.openxmlformats.org/officeDocument/2006/relationships/image" Target="../media/image8.emf"/><Relationship Id="rId1" Type="http://schemas.openxmlformats.org/officeDocument/2006/relationships/vmlDrawing" Target="../drawings/vmlDrawing18.vml"/><Relationship Id="rId2" Type="http://schemas.openxmlformats.org/officeDocument/2006/relationships/tags" Target="../tags/tag105.xml"/></Relationships>
</file>

<file path=ppt/slides/_rels/slide6.xml.rels><?xml version="1.0" encoding="UTF-8" standalone="yes"?>
<Relationships xmlns="http://schemas.openxmlformats.org/package/2006/relationships"><Relationship Id="rId3" Type="http://schemas.openxmlformats.org/officeDocument/2006/relationships/tags" Target="../tags/tag108.xml"/><Relationship Id="rId4" Type="http://schemas.openxmlformats.org/officeDocument/2006/relationships/slideLayout" Target="../slideLayouts/slideLayout3.xml"/><Relationship Id="rId5" Type="http://schemas.openxmlformats.org/officeDocument/2006/relationships/notesSlide" Target="../notesSlides/notesSlide5.xml"/><Relationship Id="rId6" Type="http://schemas.openxmlformats.org/officeDocument/2006/relationships/oleObject" Target="../embeddings/oleObject19.bin"/><Relationship Id="rId7" Type="http://schemas.openxmlformats.org/officeDocument/2006/relationships/image" Target="../media/image8.emf"/><Relationship Id="rId1" Type="http://schemas.openxmlformats.org/officeDocument/2006/relationships/vmlDrawing" Target="../drawings/vmlDrawing19.vml"/><Relationship Id="rId2" Type="http://schemas.openxmlformats.org/officeDocument/2006/relationships/tags" Target="../tags/tag107.xml"/></Relationships>
</file>

<file path=ppt/slides/_rels/slide7.xml.rels><?xml version="1.0" encoding="UTF-8" standalone="yes"?>
<Relationships xmlns="http://schemas.openxmlformats.org/package/2006/relationships"><Relationship Id="rId3" Type="http://schemas.openxmlformats.org/officeDocument/2006/relationships/tags" Target="../tags/tag110.xml"/><Relationship Id="rId4" Type="http://schemas.openxmlformats.org/officeDocument/2006/relationships/slideLayout" Target="../slideLayouts/slideLayout3.xml"/><Relationship Id="rId5" Type="http://schemas.openxmlformats.org/officeDocument/2006/relationships/notesSlide" Target="../notesSlides/notesSlide6.xml"/><Relationship Id="rId6" Type="http://schemas.openxmlformats.org/officeDocument/2006/relationships/oleObject" Target="../embeddings/oleObject20.bin"/><Relationship Id="rId7" Type="http://schemas.openxmlformats.org/officeDocument/2006/relationships/image" Target="../media/image8.emf"/><Relationship Id="rId1" Type="http://schemas.openxmlformats.org/officeDocument/2006/relationships/vmlDrawing" Target="../drawings/vmlDrawing20.vml"/><Relationship Id="rId2" Type="http://schemas.openxmlformats.org/officeDocument/2006/relationships/tags" Target="../tags/tag10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105F7655-C287-A741-AE96-B75C916AEF86}"/>
              </a:ext>
            </a:extLst>
          </p:cNvPr>
          <p:cNvSpPr>
            <a:spLocks noGrp="1"/>
          </p:cNvSpPr>
          <p:nvPr>
            <p:ph type="title"/>
          </p:nvPr>
        </p:nvSpPr>
        <p:spPr/>
        <p:txBody>
          <a:bodyPr/>
          <a:lstStyle/>
          <a:p>
            <a:r>
              <a:rPr kumimoji="1" lang="en-US" altLang="ja-JP" sz="3200" dirty="0" smtClean="0"/>
              <a:t>PBL08</a:t>
            </a:r>
            <a:r>
              <a:rPr kumimoji="1" lang="en-US" altLang="ja-JP" sz="3200" dirty="0"/>
              <a:t/>
            </a:r>
            <a:br>
              <a:rPr kumimoji="1" lang="en-US" altLang="ja-JP" sz="3200" dirty="0"/>
            </a:br>
            <a:r>
              <a:rPr kumimoji="1" lang="ja-JP" altLang="en-US" sz="3200" dirty="0" smtClean="0"/>
              <a:t>中間報告</a:t>
            </a:r>
            <a:endParaRPr kumimoji="1" lang="ja-JP" altLang="en-US" sz="3200" dirty="0"/>
          </a:p>
        </p:txBody>
      </p:sp>
      <p:sp>
        <p:nvSpPr>
          <p:cNvPr id="3" name="タイトル 1">
            <a:extLst>
              <a:ext uri="{FF2B5EF4-FFF2-40B4-BE49-F238E27FC236}">
                <a16:creationId xmlns:a16="http://schemas.microsoft.com/office/drawing/2014/main" xmlns="" id="{5FCF0265-38A5-E64E-B1F3-EFEA0BB387DE}"/>
              </a:ext>
            </a:extLst>
          </p:cNvPr>
          <p:cNvSpPr txBox="1">
            <a:spLocks/>
          </p:cNvSpPr>
          <p:nvPr/>
        </p:nvSpPr>
        <p:spPr>
          <a:xfrm>
            <a:off x="4248807" y="2681103"/>
            <a:ext cx="4698126" cy="1495794"/>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sym typeface="Trebuchet MS" panose="020B0603020202020204" pitchFamily="34" charset="0"/>
              </a:defRPr>
            </a:lvl1pPr>
          </a:lstStyle>
          <a:p>
            <a:r>
              <a:rPr kumimoji="1" lang="en-US" altLang="ja-JP" sz="8800" dirty="0">
                <a:solidFill>
                  <a:schemeClr val="tx1"/>
                </a:solidFill>
              </a:rPr>
              <a:t>TEAM 84</a:t>
            </a:r>
            <a:endParaRPr kumimoji="1" lang="ja-JP" altLang="en-US" sz="8800">
              <a:solidFill>
                <a:schemeClr val="tx1"/>
              </a:solidFill>
            </a:endParaRPr>
          </a:p>
        </p:txBody>
      </p:sp>
    </p:spTree>
    <p:extLst>
      <p:ext uri="{BB962C8B-B14F-4D97-AF65-F5344CB8AC3E}">
        <p14:creationId xmlns:p14="http://schemas.microsoft.com/office/powerpoint/2010/main" val="1089222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9"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err="1">
              <a:solidFill>
                <a:srgbClr val="FFFFFF"/>
              </a:solidFill>
              <a:latin typeface="Century Gothic" panose="020B0502020202020204" pitchFamily="34" charset="0"/>
              <a:ea typeface="+mj-ea"/>
              <a:cs typeface="+mj-cs"/>
              <a:sym typeface="Century Gothic" panose="020B0502020202020204" pitchFamily="34" charset="0"/>
            </a:endParaRPr>
          </a:p>
        </p:txBody>
      </p:sp>
      <p:grpSp>
        <p:nvGrpSpPr>
          <p:cNvPr id="8" name="Group 7"/>
          <p:cNvGrpSpPr/>
          <p:nvPr/>
        </p:nvGrpSpPr>
        <p:grpSpPr>
          <a:xfrm>
            <a:off x="-523160" y="6421877"/>
            <a:ext cx="1153160" cy="505338"/>
            <a:chOff x="8949555" y="4358421"/>
            <a:chExt cx="1667726" cy="2160000"/>
          </a:xfrm>
        </p:grpSpPr>
        <p:sp>
          <p:nvSpPr>
            <p:cNvPr id="9" name="Parallelogram 9"/>
            <p:cNvSpPr>
              <a:spLocks noChangeAspect="1"/>
            </p:cNvSpPr>
            <p:nvPr/>
          </p:nvSpPr>
          <p:spPr>
            <a:xfrm rot="18875660">
              <a:off x="874313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0" name="Parallelogram 9"/>
            <p:cNvSpPr>
              <a:spLocks noChangeAspect="1"/>
            </p:cNvSpPr>
            <p:nvPr/>
          </p:nvSpPr>
          <p:spPr>
            <a:xfrm rot="18875660">
              <a:off x="890196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1" name="Parallelogram 9"/>
            <p:cNvSpPr>
              <a:spLocks noChangeAspect="1"/>
            </p:cNvSpPr>
            <p:nvPr/>
          </p:nvSpPr>
          <p:spPr>
            <a:xfrm rot="18875660">
              <a:off x="906079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2" name="Parallelogram 9"/>
            <p:cNvSpPr>
              <a:spLocks noChangeAspect="1"/>
            </p:cNvSpPr>
            <p:nvPr/>
          </p:nvSpPr>
          <p:spPr>
            <a:xfrm rot="18875660">
              <a:off x="921962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3" name="Parallelogram 9"/>
            <p:cNvSpPr>
              <a:spLocks noChangeAspect="1"/>
            </p:cNvSpPr>
            <p:nvPr/>
          </p:nvSpPr>
          <p:spPr>
            <a:xfrm rot="18875660">
              <a:off x="937845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4" name="Parallelogram 9"/>
            <p:cNvSpPr>
              <a:spLocks noChangeAspect="1"/>
            </p:cNvSpPr>
            <p:nvPr/>
          </p:nvSpPr>
          <p:spPr>
            <a:xfrm rot="18875660">
              <a:off x="953728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5" name="Parallelogram 9"/>
            <p:cNvSpPr>
              <a:spLocks noChangeAspect="1"/>
            </p:cNvSpPr>
            <p:nvPr/>
          </p:nvSpPr>
          <p:spPr>
            <a:xfrm rot="18875660">
              <a:off x="866371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6" name="Parallelogram 9"/>
            <p:cNvSpPr>
              <a:spLocks noChangeAspect="1"/>
            </p:cNvSpPr>
            <p:nvPr/>
          </p:nvSpPr>
          <p:spPr>
            <a:xfrm rot="18875660">
              <a:off x="882254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7" name="Parallelogram 9"/>
            <p:cNvSpPr>
              <a:spLocks noChangeAspect="1"/>
            </p:cNvSpPr>
            <p:nvPr/>
          </p:nvSpPr>
          <p:spPr>
            <a:xfrm rot="18875660">
              <a:off x="898137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8" name="Parallelogram 9"/>
            <p:cNvSpPr>
              <a:spLocks noChangeAspect="1"/>
            </p:cNvSpPr>
            <p:nvPr/>
          </p:nvSpPr>
          <p:spPr>
            <a:xfrm rot="18875660">
              <a:off x="914021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9" name="Parallelogram 9"/>
            <p:cNvSpPr>
              <a:spLocks noChangeAspect="1"/>
            </p:cNvSpPr>
            <p:nvPr/>
          </p:nvSpPr>
          <p:spPr>
            <a:xfrm rot="18875660">
              <a:off x="929904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0" name="Parallelogram 9"/>
            <p:cNvSpPr>
              <a:spLocks noChangeAspect="1"/>
            </p:cNvSpPr>
            <p:nvPr/>
          </p:nvSpPr>
          <p:spPr>
            <a:xfrm rot="18875660">
              <a:off x="945787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1" name="Parallelogram 9"/>
            <p:cNvSpPr>
              <a:spLocks noChangeAspect="1"/>
            </p:cNvSpPr>
            <p:nvPr/>
          </p:nvSpPr>
          <p:spPr>
            <a:xfrm rot="18875660">
              <a:off x="794897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2" name="Parallelogram 9"/>
            <p:cNvSpPr>
              <a:spLocks noChangeAspect="1"/>
            </p:cNvSpPr>
            <p:nvPr/>
          </p:nvSpPr>
          <p:spPr>
            <a:xfrm rot="18875660">
              <a:off x="810780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3" name="Parallelogram 9"/>
            <p:cNvSpPr>
              <a:spLocks noChangeAspect="1"/>
            </p:cNvSpPr>
            <p:nvPr/>
          </p:nvSpPr>
          <p:spPr>
            <a:xfrm rot="18875660">
              <a:off x="826663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4" name="Parallelogram 9"/>
            <p:cNvSpPr>
              <a:spLocks noChangeAspect="1"/>
            </p:cNvSpPr>
            <p:nvPr/>
          </p:nvSpPr>
          <p:spPr>
            <a:xfrm rot="18875660">
              <a:off x="842546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5" name="Parallelogram 9"/>
            <p:cNvSpPr>
              <a:spLocks noChangeAspect="1"/>
            </p:cNvSpPr>
            <p:nvPr/>
          </p:nvSpPr>
          <p:spPr>
            <a:xfrm rot="18875660">
              <a:off x="858429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6" name="Parallelogram 9"/>
            <p:cNvSpPr>
              <a:spLocks noChangeAspect="1"/>
            </p:cNvSpPr>
            <p:nvPr/>
          </p:nvSpPr>
          <p:spPr>
            <a:xfrm rot="18875660">
              <a:off x="786955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7" name="Parallelogram 9"/>
            <p:cNvSpPr>
              <a:spLocks noChangeAspect="1"/>
            </p:cNvSpPr>
            <p:nvPr/>
          </p:nvSpPr>
          <p:spPr>
            <a:xfrm rot="18875660">
              <a:off x="802838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8" name="Parallelogram 9"/>
            <p:cNvSpPr>
              <a:spLocks noChangeAspect="1"/>
            </p:cNvSpPr>
            <p:nvPr/>
          </p:nvSpPr>
          <p:spPr>
            <a:xfrm rot="18875660">
              <a:off x="818721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9" name="Parallelogram 9"/>
            <p:cNvSpPr>
              <a:spLocks noChangeAspect="1"/>
            </p:cNvSpPr>
            <p:nvPr/>
          </p:nvSpPr>
          <p:spPr>
            <a:xfrm rot="18875660">
              <a:off x="834605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30" name="Parallelogram 9"/>
            <p:cNvSpPr>
              <a:spLocks noChangeAspect="1"/>
            </p:cNvSpPr>
            <p:nvPr/>
          </p:nvSpPr>
          <p:spPr>
            <a:xfrm rot="18875660">
              <a:off x="850488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grpSp>
      <p:sp>
        <p:nvSpPr>
          <p:cNvPr id="7" name="Title 6"/>
          <p:cNvSpPr>
            <a:spLocks noGrp="1"/>
          </p:cNvSpPr>
          <p:nvPr>
            <p:ph type="title"/>
          </p:nvPr>
        </p:nvSpPr>
        <p:spPr>
          <a:xfrm>
            <a:off x="630000" y="622800"/>
            <a:ext cx="8647200" cy="332399"/>
          </a:xfrm>
        </p:spPr>
        <p:txBody>
          <a:bodyPr vert="horz" wrap="square" lIns="0" tIns="0" rIns="0" bIns="0" rtlCol="0" anchor="t">
            <a:spAutoFit/>
          </a:bodyPr>
          <a:lstStyle/>
          <a:p>
            <a:r>
              <a:rPr lang="ja-JP" altLang="en-US" sz="2400" b="1">
                <a:solidFill>
                  <a:schemeClr val="accent6"/>
                </a:solidFill>
                <a:latin typeface="Century Gothic" panose="020B0502020202020204" pitchFamily="34" charset="0"/>
                <a:ea typeface="Meiryo UI" panose="020B0604030504040204" pitchFamily="50" charset="-128"/>
              </a:rPr>
              <a:t>目次</a:t>
            </a:r>
            <a:endParaRPr lang="en-US" sz="2400" b="1" dirty="0">
              <a:solidFill>
                <a:schemeClr val="accent6"/>
              </a:solidFill>
              <a:latin typeface="Meiryo UI" panose="020B0604030504040204" pitchFamily="50" charset="-128"/>
              <a:ea typeface="Meiryo UI" panose="020B0604030504040204" pitchFamily="50" charset="-128"/>
            </a:endParaRPr>
          </a:p>
        </p:txBody>
      </p:sp>
      <p:sp>
        <p:nvSpPr>
          <p:cNvPr id="59" name="Parallelogram 9"/>
          <p:cNvSpPr>
            <a:spLocks noChangeAspect="1"/>
          </p:cNvSpPr>
          <p:nvPr/>
        </p:nvSpPr>
        <p:spPr>
          <a:xfrm rot="18875660">
            <a:off x="260275" y="227459"/>
            <a:ext cx="180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0" name="Parallelogram 9"/>
          <p:cNvSpPr>
            <a:spLocks noChangeAspect="1"/>
          </p:cNvSpPr>
          <p:nvPr/>
        </p:nvSpPr>
        <p:spPr>
          <a:xfrm rot="18875660">
            <a:off x="389063" y="488032"/>
            <a:ext cx="54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2" name="Parallelogram 9"/>
          <p:cNvSpPr>
            <a:spLocks noChangeAspect="1"/>
          </p:cNvSpPr>
          <p:nvPr/>
        </p:nvSpPr>
        <p:spPr>
          <a:xfrm rot="18875660">
            <a:off x="-330207" y="684657"/>
            <a:ext cx="108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56" name="Isosceles Triangle 55"/>
          <p:cNvSpPr>
            <a:spLocks/>
          </p:cNvSpPr>
          <p:nvPr/>
        </p:nvSpPr>
        <p:spPr>
          <a:xfrm rot="10800000" flipH="1" flipV="1">
            <a:off x="9546671" y="6498149"/>
            <a:ext cx="359329" cy="359850"/>
          </a:xfrm>
          <a:prstGeom prst="triangle">
            <a:avLst>
              <a:gd name="adj" fmla="val 100000"/>
            </a:avLst>
          </a:prstGeom>
          <a:solidFill>
            <a:srgbClr val="30C1D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latin typeface="Calibri" panose="020F0502020204030204" pitchFamily="34" charset="0"/>
              <a:cs typeface="Calibri" panose="020F0502020204030204" pitchFamily="34" charset="0"/>
            </a:endParaRPr>
          </a:p>
        </p:txBody>
      </p:sp>
      <p:sp>
        <p:nvSpPr>
          <p:cNvPr id="46" name="Rectangle 45"/>
          <p:cNvSpPr/>
          <p:nvPr/>
        </p:nvSpPr>
        <p:spPr>
          <a:xfrm>
            <a:off x="527074" y="1396223"/>
            <a:ext cx="8851850" cy="4984408"/>
          </a:xfrm>
          <a:prstGeom prst="rect">
            <a:avLst/>
          </a:prstGeom>
          <a:noFill/>
          <a:ln w="9525" cap="rnd" cmpd="sng" algn="ctr">
            <a:solidFill>
              <a:srgbClr val="9A9A9A"/>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kumimoji="1" lang="en-US" sz="1000" dirty="0" err="1">
              <a:solidFill>
                <a:srgbClr val="575757"/>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xmlns="" id="{31752FBA-FBA0-B846-BED9-C9348DD3DA55}"/>
              </a:ext>
            </a:extLst>
          </p:cNvPr>
          <p:cNvSpPr txBox="1"/>
          <p:nvPr/>
        </p:nvSpPr>
        <p:spPr>
          <a:xfrm>
            <a:off x="752489" y="1476181"/>
            <a:ext cx="7845246" cy="1289280"/>
          </a:xfrm>
          <a:prstGeom prst="rect">
            <a:avLst/>
          </a:prstGeom>
          <a:noFill/>
          <a:ln cap="rnd">
            <a:noFill/>
            <a:prstDash val="solid"/>
          </a:ln>
        </p:spPr>
        <p:txBody>
          <a:bodyPr wrap="none" lIns="0" tIns="0" rIns="0" bIns="0" rtlCol="0" anchor="t" anchorCtr="0">
            <a:noAutofit/>
          </a:bodyPr>
          <a:lstStyle/>
          <a:p>
            <a:pPr marL="342900" indent="-342900">
              <a:buFont typeface="+mj-lt"/>
              <a:buAutoNum type="arabicPeriod"/>
            </a:pPr>
            <a:r>
              <a:rPr kumimoji="1" lang="ja-JP" altLang="en-US" sz="2800" dirty="0" smtClean="0"/>
              <a:t>サマリ</a:t>
            </a:r>
            <a:endParaRPr kumimoji="1" lang="en-US" altLang="ja-JP" sz="2800" dirty="0"/>
          </a:p>
          <a:p>
            <a:pPr marL="342900" indent="-342900">
              <a:buFont typeface="+mj-lt"/>
              <a:buAutoNum type="arabicPeriod"/>
            </a:pPr>
            <a:endParaRPr kumimoji="1" lang="en-US" altLang="ja-JP" sz="2800" dirty="0" smtClean="0"/>
          </a:p>
          <a:p>
            <a:pPr marL="342900" indent="-342900">
              <a:buFont typeface="+mj-lt"/>
              <a:buAutoNum type="arabicPeriod"/>
            </a:pPr>
            <a:r>
              <a:rPr kumimoji="1" lang="ja-JP" altLang="en-US" sz="2800" dirty="0" smtClean="0"/>
              <a:t>課題への取り組み方針</a:t>
            </a:r>
            <a:endParaRPr kumimoji="1" lang="en-US" altLang="ja-JP" sz="2800" dirty="0" smtClean="0"/>
          </a:p>
          <a:p>
            <a:pPr marL="342900" indent="-342900">
              <a:buFont typeface="+mj-lt"/>
              <a:buAutoNum type="arabicPeriod"/>
            </a:pPr>
            <a:endParaRPr kumimoji="1" lang="en-US" altLang="ja-JP" sz="2800" dirty="0"/>
          </a:p>
          <a:p>
            <a:pPr marL="342900" indent="-342900">
              <a:buFont typeface="+mj-lt"/>
              <a:buAutoNum type="arabicPeriod"/>
            </a:pPr>
            <a:r>
              <a:rPr kumimoji="1" lang="ja-JP" altLang="en-US" sz="2800" dirty="0" smtClean="0"/>
              <a:t>モデルの学習について</a:t>
            </a:r>
            <a:endParaRPr kumimoji="1" lang="en-US" altLang="ja-JP" sz="2800" dirty="0" smtClean="0"/>
          </a:p>
          <a:p>
            <a:pPr marL="342900" indent="-342900">
              <a:buFont typeface="+mj-lt"/>
              <a:buAutoNum type="arabicPeriod"/>
            </a:pPr>
            <a:endParaRPr kumimoji="1" lang="en-US" altLang="ja-JP" sz="2800" dirty="0"/>
          </a:p>
          <a:p>
            <a:pPr marL="342900" indent="-342900">
              <a:buFont typeface="+mj-lt"/>
              <a:buAutoNum type="arabicPeriod"/>
            </a:pPr>
            <a:r>
              <a:rPr kumimoji="1" lang="ja-JP" altLang="en-US" sz="2800" dirty="0" smtClean="0"/>
              <a:t>自動運転について</a:t>
            </a:r>
            <a:endParaRPr kumimoji="1" lang="en-US" altLang="ja-JP" sz="2800" dirty="0" smtClean="0"/>
          </a:p>
          <a:p>
            <a:pPr marL="342900" indent="-342900">
              <a:buFont typeface="+mj-lt"/>
              <a:buAutoNum type="arabicPeriod"/>
            </a:pPr>
            <a:endParaRPr kumimoji="1" lang="en-US" altLang="ja-JP" sz="2800" dirty="0"/>
          </a:p>
          <a:p>
            <a:pPr marL="342900" indent="-342900">
              <a:buFont typeface="+mj-lt"/>
              <a:buAutoNum type="arabicPeriod"/>
            </a:pPr>
            <a:r>
              <a:rPr kumimoji="1" lang="ja-JP" altLang="en-US" sz="2800" dirty="0" smtClean="0"/>
              <a:t>今後について</a:t>
            </a:r>
            <a:endParaRPr kumimoji="1" lang="en-US" altLang="ja-JP" sz="2800" dirty="0" smtClean="0"/>
          </a:p>
          <a:p>
            <a:pPr marL="342900" indent="-342900">
              <a:buFont typeface="+mj-lt"/>
              <a:buAutoNum type="arabicPeriod"/>
            </a:pPr>
            <a:endParaRPr kumimoji="1" lang="en-US" altLang="ja-JP" sz="2800" dirty="0"/>
          </a:p>
          <a:p>
            <a:pPr marL="342900" indent="-342900">
              <a:buFont typeface="+mj-lt"/>
              <a:buAutoNum type="arabicPeriod"/>
            </a:pPr>
            <a:endParaRPr kumimoji="1" lang="en-US" altLang="ja-JP" sz="2800" dirty="0"/>
          </a:p>
        </p:txBody>
      </p:sp>
    </p:spTree>
    <p:extLst>
      <p:ext uri="{BB962C8B-B14F-4D97-AF65-F5344CB8AC3E}">
        <p14:creationId xmlns:p14="http://schemas.microsoft.com/office/powerpoint/2010/main" val="32683340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11"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err="1">
              <a:solidFill>
                <a:srgbClr val="FFFFFF"/>
              </a:solidFill>
              <a:latin typeface="Century Gothic" panose="020B0502020202020204" pitchFamily="34" charset="0"/>
              <a:ea typeface="+mj-ea"/>
              <a:cs typeface="+mj-cs"/>
              <a:sym typeface="Century Gothic" panose="020B0502020202020204" pitchFamily="34" charset="0"/>
            </a:endParaRPr>
          </a:p>
        </p:txBody>
      </p:sp>
      <p:grpSp>
        <p:nvGrpSpPr>
          <p:cNvPr id="8" name="Group 7"/>
          <p:cNvGrpSpPr/>
          <p:nvPr/>
        </p:nvGrpSpPr>
        <p:grpSpPr>
          <a:xfrm>
            <a:off x="-523160" y="6421877"/>
            <a:ext cx="1153160" cy="505338"/>
            <a:chOff x="8949555" y="4358421"/>
            <a:chExt cx="1667726" cy="2160000"/>
          </a:xfrm>
        </p:grpSpPr>
        <p:sp>
          <p:nvSpPr>
            <p:cNvPr id="9" name="Parallelogram 9"/>
            <p:cNvSpPr>
              <a:spLocks noChangeAspect="1"/>
            </p:cNvSpPr>
            <p:nvPr/>
          </p:nvSpPr>
          <p:spPr>
            <a:xfrm rot="18875660">
              <a:off x="874313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0" name="Parallelogram 9"/>
            <p:cNvSpPr>
              <a:spLocks noChangeAspect="1"/>
            </p:cNvSpPr>
            <p:nvPr/>
          </p:nvSpPr>
          <p:spPr>
            <a:xfrm rot="18875660">
              <a:off x="890196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1" name="Parallelogram 9"/>
            <p:cNvSpPr>
              <a:spLocks noChangeAspect="1"/>
            </p:cNvSpPr>
            <p:nvPr/>
          </p:nvSpPr>
          <p:spPr>
            <a:xfrm rot="18875660">
              <a:off x="906079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2" name="Parallelogram 9"/>
            <p:cNvSpPr>
              <a:spLocks noChangeAspect="1"/>
            </p:cNvSpPr>
            <p:nvPr/>
          </p:nvSpPr>
          <p:spPr>
            <a:xfrm rot="18875660">
              <a:off x="921962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3" name="Parallelogram 9"/>
            <p:cNvSpPr>
              <a:spLocks noChangeAspect="1"/>
            </p:cNvSpPr>
            <p:nvPr/>
          </p:nvSpPr>
          <p:spPr>
            <a:xfrm rot="18875660">
              <a:off x="937845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4" name="Parallelogram 9"/>
            <p:cNvSpPr>
              <a:spLocks noChangeAspect="1"/>
            </p:cNvSpPr>
            <p:nvPr/>
          </p:nvSpPr>
          <p:spPr>
            <a:xfrm rot="18875660">
              <a:off x="953728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5" name="Parallelogram 9"/>
            <p:cNvSpPr>
              <a:spLocks noChangeAspect="1"/>
            </p:cNvSpPr>
            <p:nvPr/>
          </p:nvSpPr>
          <p:spPr>
            <a:xfrm rot="18875660">
              <a:off x="866371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6" name="Parallelogram 9"/>
            <p:cNvSpPr>
              <a:spLocks noChangeAspect="1"/>
            </p:cNvSpPr>
            <p:nvPr/>
          </p:nvSpPr>
          <p:spPr>
            <a:xfrm rot="18875660">
              <a:off x="882254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7" name="Parallelogram 9"/>
            <p:cNvSpPr>
              <a:spLocks noChangeAspect="1"/>
            </p:cNvSpPr>
            <p:nvPr/>
          </p:nvSpPr>
          <p:spPr>
            <a:xfrm rot="18875660">
              <a:off x="898137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8" name="Parallelogram 9"/>
            <p:cNvSpPr>
              <a:spLocks noChangeAspect="1"/>
            </p:cNvSpPr>
            <p:nvPr/>
          </p:nvSpPr>
          <p:spPr>
            <a:xfrm rot="18875660">
              <a:off x="914021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9" name="Parallelogram 9"/>
            <p:cNvSpPr>
              <a:spLocks noChangeAspect="1"/>
            </p:cNvSpPr>
            <p:nvPr/>
          </p:nvSpPr>
          <p:spPr>
            <a:xfrm rot="18875660">
              <a:off x="929904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0" name="Parallelogram 9"/>
            <p:cNvSpPr>
              <a:spLocks noChangeAspect="1"/>
            </p:cNvSpPr>
            <p:nvPr/>
          </p:nvSpPr>
          <p:spPr>
            <a:xfrm rot="18875660">
              <a:off x="945787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1" name="Parallelogram 9"/>
            <p:cNvSpPr>
              <a:spLocks noChangeAspect="1"/>
            </p:cNvSpPr>
            <p:nvPr/>
          </p:nvSpPr>
          <p:spPr>
            <a:xfrm rot="18875660">
              <a:off x="794897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2" name="Parallelogram 9"/>
            <p:cNvSpPr>
              <a:spLocks noChangeAspect="1"/>
            </p:cNvSpPr>
            <p:nvPr/>
          </p:nvSpPr>
          <p:spPr>
            <a:xfrm rot="18875660">
              <a:off x="810780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3" name="Parallelogram 9"/>
            <p:cNvSpPr>
              <a:spLocks noChangeAspect="1"/>
            </p:cNvSpPr>
            <p:nvPr/>
          </p:nvSpPr>
          <p:spPr>
            <a:xfrm rot="18875660">
              <a:off x="826663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4" name="Parallelogram 9"/>
            <p:cNvSpPr>
              <a:spLocks noChangeAspect="1"/>
            </p:cNvSpPr>
            <p:nvPr/>
          </p:nvSpPr>
          <p:spPr>
            <a:xfrm rot="18875660">
              <a:off x="842546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5" name="Parallelogram 9"/>
            <p:cNvSpPr>
              <a:spLocks noChangeAspect="1"/>
            </p:cNvSpPr>
            <p:nvPr/>
          </p:nvSpPr>
          <p:spPr>
            <a:xfrm rot="18875660">
              <a:off x="858429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6" name="Parallelogram 9"/>
            <p:cNvSpPr>
              <a:spLocks noChangeAspect="1"/>
            </p:cNvSpPr>
            <p:nvPr/>
          </p:nvSpPr>
          <p:spPr>
            <a:xfrm rot="18875660">
              <a:off x="786955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7" name="Parallelogram 9"/>
            <p:cNvSpPr>
              <a:spLocks noChangeAspect="1"/>
            </p:cNvSpPr>
            <p:nvPr/>
          </p:nvSpPr>
          <p:spPr>
            <a:xfrm rot="18875660">
              <a:off x="802838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8" name="Parallelogram 9"/>
            <p:cNvSpPr>
              <a:spLocks noChangeAspect="1"/>
            </p:cNvSpPr>
            <p:nvPr/>
          </p:nvSpPr>
          <p:spPr>
            <a:xfrm rot="18875660">
              <a:off x="818721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9" name="Parallelogram 9"/>
            <p:cNvSpPr>
              <a:spLocks noChangeAspect="1"/>
            </p:cNvSpPr>
            <p:nvPr/>
          </p:nvSpPr>
          <p:spPr>
            <a:xfrm rot="18875660">
              <a:off x="834605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30" name="Parallelogram 9"/>
            <p:cNvSpPr>
              <a:spLocks noChangeAspect="1"/>
            </p:cNvSpPr>
            <p:nvPr/>
          </p:nvSpPr>
          <p:spPr>
            <a:xfrm rot="18875660">
              <a:off x="850488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grpSp>
      <p:sp>
        <p:nvSpPr>
          <p:cNvPr id="7" name="Title 6"/>
          <p:cNvSpPr>
            <a:spLocks noGrp="1"/>
          </p:cNvSpPr>
          <p:nvPr>
            <p:ph type="title"/>
          </p:nvPr>
        </p:nvSpPr>
        <p:spPr>
          <a:xfrm>
            <a:off x="630000" y="622800"/>
            <a:ext cx="8647200" cy="332399"/>
          </a:xfrm>
        </p:spPr>
        <p:txBody>
          <a:bodyPr vert="horz" wrap="square" lIns="0" tIns="0" rIns="0" bIns="0" rtlCol="0" anchor="t">
            <a:spAutoFit/>
          </a:bodyPr>
          <a:lstStyle/>
          <a:p>
            <a:r>
              <a:rPr lang="en-US" altLang="ja-JP" sz="2400" b="1" dirty="0" smtClean="0">
                <a:solidFill>
                  <a:schemeClr val="accent6"/>
                </a:solidFill>
                <a:latin typeface="Century Gothic" panose="020B0502020202020204" pitchFamily="34" charset="0"/>
              </a:rPr>
              <a:t>1. </a:t>
            </a:r>
            <a:r>
              <a:rPr lang="ja-JP" altLang="en-US" sz="2400" b="1" dirty="0" smtClean="0">
                <a:solidFill>
                  <a:schemeClr val="accent6"/>
                </a:solidFill>
                <a:latin typeface="Century Gothic" panose="020B0502020202020204" pitchFamily="34" charset="0"/>
              </a:rPr>
              <a:t>サマリ</a:t>
            </a:r>
            <a:endParaRPr lang="ja-JP" altLang="en-US" sz="2400" b="1" dirty="0">
              <a:solidFill>
                <a:schemeClr val="accent6"/>
              </a:solidFill>
              <a:latin typeface="Century Gothic" panose="020B0502020202020204" pitchFamily="34" charset="0"/>
            </a:endParaRPr>
          </a:p>
        </p:txBody>
      </p:sp>
      <p:sp>
        <p:nvSpPr>
          <p:cNvPr id="59" name="Parallelogram 9"/>
          <p:cNvSpPr>
            <a:spLocks noChangeAspect="1"/>
          </p:cNvSpPr>
          <p:nvPr/>
        </p:nvSpPr>
        <p:spPr>
          <a:xfrm rot="18875660">
            <a:off x="260275" y="227459"/>
            <a:ext cx="180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0" name="Parallelogram 9"/>
          <p:cNvSpPr>
            <a:spLocks noChangeAspect="1"/>
          </p:cNvSpPr>
          <p:nvPr/>
        </p:nvSpPr>
        <p:spPr>
          <a:xfrm rot="18875660">
            <a:off x="389063" y="488032"/>
            <a:ext cx="54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2" name="Parallelogram 9"/>
          <p:cNvSpPr>
            <a:spLocks noChangeAspect="1"/>
          </p:cNvSpPr>
          <p:nvPr/>
        </p:nvSpPr>
        <p:spPr>
          <a:xfrm rot="18875660">
            <a:off x="-330207" y="684657"/>
            <a:ext cx="108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56" name="Isosceles Triangle 55"/>
          <p:cNvSpPr>
            <a:spLocks/>
          </p:cNvSpPr>
          <p:nvPr/>
        </p:nvSpPr>
        <p:spPr>
          <a:xfrm rot="10800000" flipH="1" flipV="1">
            <a:off x="9546671" y="6498149"/>
            <a:ext cx="359329" cy="359850"/>
          </a:xfrm>
          <a:prstGeom prst="triangle">
            <a:avLst>
              <a:gd name="adj" fmla="val 100000"/>
            </a:avLst>
          </a:prstGeom>
          <a:solidFill>
            <a:srgbClr val="30C1D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latin typeface="Calibri" panose="020F0502020204030204" pitchFamily="34" charset="0"/>
              <a:cs typeface="Calibri" panose="020F0502020204030204" pitchFamily="34" charset="0"/>
            </a:endParaRPr>
          </a:p>
        </p:txBody>
      </p:sp>
      <p:sp>
        <p:nvSpPr>
          <p:cNvPr id="46" name="Rectangle 45"/>
          <p:cNvSpPr/>
          <p:nvPr/>
        </p:nvSpPr>
        <p:spPr>
          <a:xfrm>
            <a:off x="527074" y="1396223"/>
            <a:ext cx="8851850" cy="4984408"/>
          </a:xfrm>
          <a:prstGeom prst="rect">
            <a:avLst/>
          </a:prstGeom>
          <a:noFill/>
          <a:ln w="9525" cap="rnd" cmpd="sng" algn="ctr">
            <a:solidFill>
              <a:srgbClr val="9A9A9A"/>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kumimoji="1" lang="en-US" sz="1000" dirty="0" err="1">
              <a:solidFill>
                <a:srgbClr val="575757"/>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xmlns="" id="{547CA64D-CDDA-DD49-B0E0-FA53E3743184}"/>
              </a:ext>
            </a:extLst>
          </p:cNvPr>
          <p:cNvSpPr txBox="1"/>
          <p:nvPr/>
        </p:nvSpPr>
        <p:spPr>
          <a:xfrm>
            <a:off x="642664" y="1577538"/>
            <a:ext cx="8736260" cy="2327197"/>
          </a:xfrm>
          <a:prstGeom prst="rect">
            <a:avLst/>
          </a:prstGeom>
          <a:noFill/>
          <a:ln cap="rnd">
            <a:noFill/>
            <a:prstDash val="solid"/>
          </a:ln>
        </p:spPr>
        <p:txBody>
          <a:bodyPr wrap="none" lIns="0" tIns="0" rIns="0" bIns="0" rtlCol="0" anchor="t" anchorCtr="0">
            <a:noAutofit/>
          </a:bodyPr>
          <a:lstStyle/>
          <a:p>
            <a:pPr marL="285750" indent="-285750">
              <a:buFont typeface="Arial" charset="0"/>
              <a:buChar char="•"/>
            </a:pPr>
            <a:r>
              <a:rPr kumimoji="1" lang="ja-JP" altLang="en-US" sz="2000" dirty="0" smtClean="0"/>
              <a:t>課題への対応</a:t>
            </a:r>
            <a:endParaRPr kumimoji="1" lang="en-US" altLang="ja-JP" sz="2000" dirty="0" smtClean="0"/>
          </a:p>
          <a:p>
            <a:pPr marL="742950" lvl="1" indent="-285750">
              <a:buFont typeface="Arial" charset="0"/>
              <a:buChar char="•"/>
            </a:pPr>
            <a:r>
              <a:rPr kumimoji="1" lang="ja-JP" altLang="en-US" sz="2000" dirty="0" smtClean="0"/>
              <a:t>「コースを走りデータ集め」と「モデルを評価して苦手な箇所の把握」</a:t>
            </a:r>
            <a:r>
              <a:rPr kumimoji="1" lang="en-US" altLang="ja-JP" sz="2000" dirty="0" smtClean="0"/>
              <a:t/>
            </a:r>
            <a:br>
              <a:rPr kumimoji="1" lang="en-US" altLang="ja-JP" sz="2000" dirty="0" smtClean="0"/>
            </a:br>
            <a:r>
              <a:rPr kumimoji="1" lang="ja-JP" altLang="en-US" sz="2000" dirty="0" smtClean="0"/>
              <a:t>を繰り返している。</a:t>
            </a:r>
            <a:endParaRPr kumimoji="1" lang="en-US" altLang="ja-JP" sz="2000" dirty="0" smtClean="0"/>
          </a:p>
          <a:p>
            <a:pPr marL="742950" lvl="1" indent="-285750">
              <a:buFont typeface="Arial" charset="0"/>
              <a:buChar char="•"/>
            </a:pPr>
            <a:r>
              <a:rPr kumimoji="1" lang="ja-JP" altLang="en-US" sz="2000" dirty="0" smtClean="0"/>
              <a:t>課題１＆２はとりあえずこれで対応予定</a:t>
            </a:r>
            <a:endParaRPr kumimoji="1" lang="en-US" altLang="ja-JP" sz="2000" dirty="0" smtClean="0"/>
          </a:p>
          <a:p>
            <a:pPr marL="742950" lvl="1" indent="-285750">
              <a:buFont typeface="Arial" charset="0"/>
              <a:buChar char="•"/>
            </a:pPr>
            <a:r>
              <a:rPr kumimoji="1" lang="ja-JP" altLang="en-US" sz="2000" dirty="0" smtClean="0"/>
              <a:t>その先の課題は、課題１＆２で作ったモデルを組み合わせて対応予定</a:t>
            </a:r>
            <a:endParaRPr kumimoji="1" lang="en-US" altLang="ja-JP" sz="2000" dirty="0" smtClean="0"/>
          </a:p>
          <a:p>
            <a:pPr marL="285750" indent="-285750">
              <a:buFont typeface="Arial" charset="0"/>
              <a:buChar char="•"/>
            </a:pPr>
            <a:endParaRPr kumimoji="1" lang="en-US" altLang="ja-JP" sz="2000" dirty="0" smtClean="0"/>
          </a:p>
        </p:txBody>
      </p:sp>
    </p:spTree>
    <p:extLst>
      <p:ext uri="{BB962C8B-B14F-4D97-AF65-F5344CB8AC3E}">
        <p14:creationId xmlns:p14="http://schemas.microsoft.com/office/powerpoint/2010/main" val="3477451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6" imgW="425" imgH="424" progId="TCLayout.ActiveDocument.1">
                  <p:embed/>
                </p:oleObj>
              </mc:Choice>
              <mc:Fallback>
                <p:oleObj name="think-cell Slide" r:id="rId6" imgW="425" imgH="4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err="1">
              <a:solidFill>
                <a:srgbClr val="FFFFFF"/>
              </a:solidFill>
              <a:latin typeface="Century Gothic" panose="020B0502020202020204" pitchFamily="34" charset="0"/>
              <a:ea typeface="+mj-ea"/>
              <a:cs typeface="+mj-cs"/>
              <a:sym typeface="Century Gothic" panose="020B0502020202020204" pitchFamily="34" charset="0"/>
            </a:endParaRPr>
          </a:p>
        </p:txBody>
      </p:sp>
      <p:grpSp>
        <p:nvGrpSpPr>
          <p:cNvPr id="8" name="Group 7"/>
          <p:cNvGrpSpPr/>
          <p:nvPr/>
        </p:nvGrpSpPr>
        <p:grpSpPr>
          <a:xfrm>
            <a:off x="-523160" y="6421877"/>
            <a:ext cx="1153160" cy="505338"/>
            <a:chOff x="8949555" y="4358421"/>
            <a:chExt cx="1667726" cy="2160000"/>
          </a:xfrm>
        </p:grpSpPr>
        <p:sp>
          <p:nvSpPr>
            <p:cNvPr id="9" name="Parallelogram 9"/>
            <p:cNvSpPr>
              <a:spLocks noChangeAspect="1"/>
            </p:cNvSpPr>
            <p:nvPr/>
          </p:nvSpPr>
          <p:spPr>
            <a:xfrm rot="18875660">
              <a:off x="874313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0" name="Parallelogram 9"/>
            <p:cNvSpPr>
              <a:spLocks noChangeAspect="1"/>
            </p:cNvSpPr>
            <p:nvPr/>
          </p:nvSpPr>
          <p:spPr>
            <a:xfrm rot="18875660">
              <a:off x="890196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1" name="Parallelogram 9"/>
            <p:cNvSpPr>
              <a:spLocks noChangeAspect="1"/>
            </p:cNvSpPr>
            <p:nvPr/>
          </p:nvSpPr>
          <p:spPr>
            <a:xfrm rot="18875660">
              <a:off x="906079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2" name="Parallelogram 9"/>
            <p:cNvSpPr>
              <a:spLocks noChangeAspect="1"/>
            </p:cNvSpPr>
            <p:nvPr/>
          </p:nvSpPr>
          <p:spPr>
            <a:xfrm rot="18875660">
              <a:off x="921962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3" name="Parallelogram 9"/>
            <p:cNvSpPr>
              <a:spLocks noChangeAspect="1"/>
            </p:cNvSpPr>
            <p:nvPr/>
          </p:nvSpPr>
          <p:spPr>
            <a:xfrm rot="18875660">
              <a:off x="937845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4" name="Parallelogram 9"/>
            <p:cNvSpPr>
              <a:spLocks noChangeAspect="1"/>
            </p:cNvSpPr>
            <p:nvPr/>
          </p:nvSpPr>
          <p:spPr>
            <a:xfrm rot="18875660">
              <a:off x="953728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5" name="Parallelogram 9"/>
            <p:cNvSpPr>
              <a:spLocks noChangeAspect="1"/>
            </p:cNvSpPr>
            <p:nvPr/>
          </p:nvSpPr>
          <p:spPr>
            <a:xfrm rot="18875660">
              <a:off x="866371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6" name="Parallelogram 9"/>
            <p:cNvSpPr>
              <a:spLocks noChangeAspect="1"/>
            </p:cNvSpPr>
            <p:nvPr/>
          </p:nvSpPr>
          <p:spPr>
            <a:xfrm rot="18875660">
              <a:off x="882254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7" name="Parallelogram 9"/>
            <p:cNvSpPr>
              <a:spLocks noChangeAspect="1"/>
            </p:cNvSpPr>
            <p:nvPr/>
          </p:nvSpPr>
          <p:spPr>
            <a:xfrm rot="18875660">
              <a:off x="898137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8" name="Parallelogram 9"/>
            <p:cNvSpPr>
              <a:spLocks noChangeAspect="1"/>
            </p:cNvSpPr>
            <p:nvPr/>
          </p:nvSpPr>
          <p:spPr>
            <a:xfrm rot="18875660">
              <a:off x="914021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9" name="Parallelogram 9"/>
            <p:cNvSpPr>
              <a:spLocks noChangeAspect="1"/>
            </p:cNvSpPr>
            <p:nvPr/>
          </p:nvSpPr>
          <p:spPr>
            <a:xfrm rot="18875660">
              <a:off x="929904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0" name="Parallelogram 9"/>
            <p:cNvSpPr>
              <a:spLocks noChangeAspect="1"/>
            </p:cNvSpPr>
            <p:nvPr/>
          </p:nvSpPr>
          <p:spPr>
            <a:xfrm rot="18875660">
              <a:off x="945787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1" name="Parallelogram 9"/>
            <p:cNvSpPr>
              <a:spLocks noChangeAspect="1"/>
            </p:cNvSpPr>
            <p:nvPr/>
          </p:nvSpPr>
          <p:spPr>
            <a:xfrm rot="18875660">
              <a:off x="794897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2" name="Parallelogram 9"/>
            <p:cNvSpPr>
              <a:spLocks noChangeAspect="1"/>
            </p:cNvSpPr>
            <p:nvPr/>
          </p:nvSpPr>
          <p:spPr>
            <a:xfrm rot="18875660">
              <a:off x="810780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3" name="Parallelogram 9"/>
            <p:cNvSpPr>
              <a:spLocks noChangeAspect="1"/>
            </p:cNvSpPr>
            <p:nvPr/>
          </p:nvSpPr>
          <p:spPr>
            <a:xfrm rot="18875660">
              <a:off x="826663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4" name="Parallelogram 9"/>
            <p:cNvSpPr>
              <a:spLocks noChangeAspect="1"/>
            </p:cNvSpPr>
            <p:nvPr/>
          </p:nvSpPr>
          <p:spPr>
            <a:xfrm rot="18875660">
              <a:off x="842546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5" name="Parallelogram 9"/>
            <p:cNvSpPr>
              <a:spLocks noChangeAspect="1"/>
            </p:cNvSpPr>
            <p:nvPr/>
          </p:nvSpPr>
          <p:spPr>
            <a:xfrm rot="18875660">
              <a:off x="858429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6" name="Parallelogram 9"/>
            <p:cNvSpPr>
              <a:spLocks noChangeAspect="1"/>
            </p:cNvSpPr>
            <p:nvPr/>
          </p:nvSpPr>
          <p:spPr>
            <a:xfrm rot="18875660">
              <a:off x="786955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7" name="Parallelogram 9"/>
            <p:cNvSpPr>
              <a:spLocks noChangeAspect="1"/>
            </p:cNvSpPr>
            <p:nvPr/>
          </p:nvSpPr>
          <p:spPr>
            <a:xfrm rot="18875660">
              <a:off x="802838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8" name="Parallelogram 9"/>
            <p:cNvSpPr>
              <a:spLocks noChangeAspect="1"/>
            </p:cNvSpPr>
            <p:nvPr/>
          </p:nvSpPr>
          <p:spPr>
            <a:xfrm rot="18875660">
              <a:off x="818721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9" name="Parallelogram 9"/>
            <p:cNvSpPr>
              <a:spLocks noChangeAspect="1"/>
            </p:cNvSpPr>
            <p:nvPr/>
          </p:nvSpPr>
          <p:spPr>
            <a:xfrm rot="18875660">
              <a:off x="834605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30" name="Parallelogram 9"/>
            <p:cNvSpPr>
              <a:spLocks noChangeAspect="1"/>
            </p:cNvSpPr>
            <p:nvPr/>
          </p:nvSpPr>
          <p:spPr>
            <a:xfrm rot="18875660">
              <a:off x="850488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grpSp>
      <p:sp>
        <p:nvSpPr>
          <p:cNvPr id="7" name="Title 6"/>
          <p:cNvSpPr>
            <a:spLocks noGrp="1"/>
          </p:cNvSpPr>
          <p:nvPr>
            <p:ph type="title"/>
          </p:nvPr>
        </p:nvSpPr>
        <p:spPr>
          <a:xfrm>
            <a:off x="630000" y="622800"/>
            <a:ext cx="8647200" cy="332399"/>
          </a:xfrm>
        </p:spPr>
        <p:txBody>
          <a:bodyPr vert="horz" wrap="square" lIns="0" tIns="0" rIns="0" bIns="0" rtlCol="0" anchor="t">
            <a:spAutoFit/>
          </a:bodyPr>
          <a:lstStyle/>
          <a:p>
            <a:r>
              <a:rPr lang="en-US" altLang="ja-JP" sz="2400" b="1" dirty="0" smtClean="0">
                <a:solidFill>
                  <a:schemeClr val="accent6"/>
                </a:solidFill>
                <a:latin typeface="Century Gothic" panose="020B0502020202020204" pitchFamily="34" charset="0"/>
              </a:rPr>
              <a:t>2. </a:t>
            </a:r>
            <a:r>
              <a:rPr lang="ja-JP" altLang="en-US" sz="2400" b="1" dirty="0" smtClean="0">
                <a:solidFill>
                  <a:schemeClr val="accent6"/>
                </a:solidFill>
                <a:latin typeface="Century Gothic" panose="020B0502020202020204" pitchFamily="34" charset="0"/>
              </a:rPr>
              <a:t>課題への取り組み</a:t>
            </a:r>
            <a:endParaRPr lang="ja-JP" altLang="en-US" sz="2400" b="1" dirty="0">
              <a:solidFill>
                <a:schemeClr val="accent6"/>
              </a:solidFill>
              <a:latin typeface="Century Gothic" panose="020B0502020202020204" pitchFamily="34" charset="0"/>
            </a:endParaRPr>
          </a:p>
        </p:txBody>
      </p:sp>
      <p:sp>
        <p:nvSpPr>
          <p:cNvPr id="59" name="Parallelogram 9"/>
          <p:cNvSpPr>
            <a:spLocks noChangeAspect="1"/>
          </p:cNvSpPr>
          <p:nvPr/>
        </p:nvSpPr>
        <p:spPr>
          <a:xfrm rot="18875660">
            <a:off x="260275" y="227459"/>
            <a:ext cx="180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0" name="Parallelogram 9"/>
          <p:cNvSpPr>
            <a:spLocks noChangeAspect="1"/>
          </p:cNvSpPr>
          <p:nvPr/>
        </p:nvSpPr>
        <p:spPr>
          <a:xfrm rot="18875660">
            <a:off x="389063" y="488032"/>
            <a:ext cx="54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2" name="Parallelogram 9"/>
          <p:cNvSpPr>
            <a:spLocks noChangeAspect="1"/>
          </p:cNvSpPr>
          <p:nvPr/>
        </p:nvSpPr>
        <p:spPr>
          <a:xfrm rot="18875660">
            <a:off x="-330207" y="684657"/>
            <a:ext cx="108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56" name="Isosceles Triangle 55"/>
          <p:cNvSpPr>
            <a:spLocks/>
          </p:cNvSpPr>
          <p:nvPr/>
        </p:nvSpPr>
        <p:spPr>
          <a:xfrm rot="10800000" flipH="1" flipV="1">
            <a:off x="9546671" y="6498149"/>
            <a:ext cx="359329" cy="359850"/>
          </a:xfrm>
          <a:prstGeom prst="triangle">
            <a:avLst>
              <a:gd name="adj" fmla="val 100000"/>
            </a:avLst>
          </a:prstGeom>
          <a:solidFill>
            <a:srgbClr val="30C1D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latin typeface="Calibri" panose="020F0502020204030204" pitchFamily="34" charset="0"/>
              <a:cs typeface="Calibri" panose="020F0502020204030204" pitchFamily="34" charset="0"/>
            </a:endParaRPr>
          </a:p>
        </p:txBody>
      </p:sp>
      <p:sp>
        <p:nvSpPr>
          <p:cNvPr id="46" name="Rectangle 45"/>
          <p:cNvSpPr/>
          <p:nvPr/>
        </p:nvSpPr>
        <p:spPr>
          <a:xfrm>
            <a:off x="527074" y="1396223"/>
            <a:ext cx="8851850" cy="4984408"/>
          </a:xfrm>
          <a:prstGeom prst="rect">
            <a:avLst/>
          </a:prstGeom>
          <a:noFill/>
          <a:ln w="9525" cap="rnd" cmpd="sng" algn="ctr">
            <a:solidFill>
              <a:srgbClr val="9A9A9A"/>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kumimoji="1" lang="en-US" sz="1000" dirty="0" err="1">
              <a:solidFill>
                <a:srgbClr val="575757"/>
              </a:solidFill>
              <a:latin typeface="Meiryo UI" panose="020B0604030504040204" pitchFamily="50" charset="-128"/>
              <a:ea typeface="Meiryo UI" panose="020B0604030504040204" pitchFamily="50" charset="-128"/>
            </a:endParaRPr>
          </a:p>
        </p:txBody>
      </p:sp>
      <p:sp>
        <p:nvSpPr>
          <p:cNvPr id="3" name="フローチャート: 処理 2"/>
          <p:cNvSpPr/>
          <p:nvPr/>
        </p:nvSpPr>
        <p:spPr>
          <a:xfrm>
            <a:off x="4000886" y="1396223"/>
            <a:ext cx="3086100" cy="860339"/>
          </a:xfrm>
          <a:prstGeom prst="flowChartProcess">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2400" dirty="0" smtClean="0">
                <a:solidFill>
                  <a:srgbClr val="FFFFFF"/>
                </a:solidFill>
              </a:rPr>
              <a:t>通常操作で</a:t>
            </a:r>
            <a:endParaRPr kumimoji="1" lang="en-US" altLang="ja-JP" sz="2400" dirty="0" smtClean="0">
              <a:solidFill>
                <a:srgbClr val="FFFFFF"/>
              </a:solidFill>
            </a:endParaRPr>
          </a:p>
          <a:p>
            <a:pPr algn="ctr"/>
            <a:r>
              <a:rPr kumimoji="1" lang="ja-JP" altLang="en-US" sz="2400" dirty="0" smtClean="0">
                <a:solidFill>
                  <a:srgbClr val="FFFFFF"/>
                </a:solidFill>
              </a:rPr>
              <a:t>データ集め</a:t>
            </a:r>
            <a:endParaRPr kumimoji="1" lang="ja-JP" altLang="en-US" sz="2400" dirty="0" smtClean="0">
              <a:solidFill>
                <a:srgbClr val="FFFFFF"/>
              </a:solidFill>
            </a:endParaRPr>
          </a:p>
        </p:txBody>
      </p:sp>
      <p:sp>
        <p:nvSpPr>
          <p:cNvPr id="36" name="フローチャート: 処理 35"/>
          <p:cNvSpPr/>
          <p:nvPr/>
        </p:nvSpPr>
        <p:spPr>
          <a:xfrm>
            <a:off x="4000886" y="2991369"/>
            <a:ext cx="3086100" cy="860339"/>
          </a:xfrm>
          <a:prstGeom prst="flowChartProcess">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r>
              <a:rPr kumimoji="1" lang="ja-JP" altLang="en-US" sz="2400" dirty="0" smtClean="0">
                <a:solidFill>
                  <a:srgbClr val="FFFFFF"/>
                </a:solidFill>
              </a:rPr>
              <a:t>モデル作成</a:t>
            </a:r>
            <a:endParaRPr kumimoji="1" lang="ja-JP" altLang="en-US" sz="2400" dirty="0" smtClean="0">
              <a:solidFill>
                <a:srgbClr val="FFFFFF"/>
              </a:solidFill>
            </a:endParaRPr>
          </a:p>
        </p:txBody>
      </p:sp>
      <p:sp>
        <p:nvSpPr>
          <p:cNvPr id="37" name="フローチャート: 処理 36"/>
          <p:cNvSpPr/>
          <p:nvPr/>
        </p:nvSpPr>
        <p:spPr>
          <a:xfrm>
            <a:off x="4000886" y="4586515"/>
            <a:ext cx="3086100" cy="860339"/>
          </a:xfrm>
          <a:prstGeom prst="flowChartProcess">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tlCol="0" anchor="ctr" anchorCtr="0"/>
          <a:lstStyle/>
          <a:p>
            <a:pPr algn="ctr"/>
            <a:r>
              <a:rPr kumimoji="1" lang="ja-JP" altLang="en-US" sz="2400" smtClean="0">
                <a:solidFill>
                  <a:srgbClr val="FFFFFF"/>
                </a:solidFill>
              </a:rPr>
              <a:t>モデル評価</a:t>
            </a:r>
            <a:endParaRPr kumimoji="1" lang="ja-JP" altLang="en-US" sz="2400" dirty="0" smtClean="0">
              <a:solidFill>
                <a:srgbClr val="FFFFFF"/>
              </a:solidFill>
            </a:endParaRPr>
          </a:p>
        </p:txBody>
      </p:sp>
      <p:sp>
        <p:nvSpPr>
          <p:cNvPr id="38" name="フローチャート: 処理 37"/>
          <p:cNvSpPr/>
          <p:nvPr/>
        </p:nvSpPr>
        <p:spPr>
          <a:xfrm>
            <a:off x="209793" y="3851708"/>
            <a:ext cx="3086100" cy="860339"/>
          </a:xfrm>
          <a:prstGeom prst="flowChartProcess">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2400" dirty="0" smtClean="0">
                <a:solidFill>
                  <a:srgbClr val="FFFFFF"/>
                </a:solidFill>
              </a:rPr>
              <a:t>詰まった</a:t>
            </a:r>
            <a:r>
              <a:rPr kumimoji="1" lang="ja-JP" altLang="en-US" sz="2400" dirty="0" smtClean="0">
                <a:solidFill>
                  <a:srgbClr val="FFFFFF"/>
                </a:solidFill>
              </a:rPr>
              <a:t>箇所を重点的にデータ集め</a:t>
            </a:r>
            <a:endParaRPr kumimoji="1" lang="ja-JP" altLang="en-US" sz="2400" dirty="0" smtClean="0">
              <a:solidFill>
                <a:srgbClr val="FFFFFF"/>
              </a:solidFill>
            </a:endParaRPr>
          </a:p>
        </p:txBody>
      </p:sp>
      <p:sp>
        <p:nvSpPr>
          <p:cNvPr id="4" name="下矢印 3"/>
          <p:cNvSpPr/>
          <p:nvPr/>
        </p:nvSpPr>
        <p:spPr>
          <a:xfrm>
            <a:off x="5179412" y="2384397"/>
            <a:ext cx="729048" cy="479136"/>
          </a:xfrm>
          <a:prstGeom prst="downArrow">
            <a:avLst/>
          </a:prstGeom>
          <a:noFill/>
          <a:ln>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nchorCtr="0"/>
          <a:lstStyle/>
          <a:p>
            <a:pPr algn="ctr"/>
            <a:endParaRPr kumimoji="1" lang="ja-JP" altLang="en-US" sz="1200" dirty="0" err="1" smtClean="0">
              <a:solidFill>
                <a:srgbClr val="FFFFFF"/>
              </a:solidFill>
            </a:endParaRPr>
          </a:p>
        </p:txBody>
      </p:sp>
      <p:sp>
        <p:nvSpPr>
          <p:cNvPr id="39" name="下矢印 38"/>
          <p:cNvSpPr/>
          <p:nvPr/>
        </p:nvSpPr>
        <p:spPr>
          <a:xfrm>
            <a:off x="5179412" y="3965441"/>
            <a:ext cx="729048" cy="479136"/>
          </a:xfrm>
          <a:prstGeom prst="downArrow">
            <a:avLst/>
          </a:prstGeom>
          <a:noFill/>
          <a:ln>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nchorCtr="0"/>
          <a:lstStyle/>
          <a:p>
            <a:pPr algn="ctr"/>
            <a:endParaRPr kumimoji="1" lang="ja-JP" altLang="en-US" sz="1200" dirty="0" err="1" smtClean="0">
              <a:solidFill>
                <a:srgbClr val="FFFFFF"/>
              </a:solidFill>
            </a:endParaRPr>
          </a:p>
        </p:txBody>
      </p:sp>
      <p:sp>
        <p:nvSpPr>
          <p:cNvPr id="40" name="下矢印 39"/>
          <p:cNvSpPr/>
          <p:nvPr/>
        </p:nvSpPr>
        <p:spPr>
          <a:xfrm rot="8180823">
            <a:off x="3176690" y="4843574"/>
            <a:ext cx="729048" cy="479136"/>
          </a:xfrm>
          <a:prstGeom prst="downArrow">
            <a:avLst/>
          </a:prstGeom>
          <a:noFill/>
          <a:ln>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nchorCtr="0"/>
          <a:lstStyle/>
          <a:p>
            <a:pPr algn="ctr"/>
            <a:endParaRPr kumimoji="1" lang="ja-JP" altLang="en-US" sz="1200" dirty="0" err="1" smtClean="0">
              <a:solidFill>
                <a:srgbClr val="FFFFFF"/>
              </a:solidFill>
            </a:endParaRPr>
          </a:p>
        </p:txBody>
      </p:sp>
      <p:sp>
        <p:nvSpPr>
          <p:cNvPr id="41" name="下矢印 40"/>
          <p:cNvSpPr/>
          <p:nvPr/>
        </p:nvSpPr>
        <p:spPr>
          <a:xfrm rot="13643040">
            <a:off x="3227751" y="3394169"/>
            <a:ext cx="729048" cy="479136"/>
          </a:xfrm>
          <a:prstGeom prst="downArrow">
            <a:avLst/>
          </a:prstGeom>
          <a:noFill/>
          <a:ln>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nchorCtr="0"/>
          <a:lstStyle/>
          <a:p>
            <a:pPr algn="ctr"/>
            <a:endParaRPr kumimoji="1" lang="ja-JP" altLang="en-US" sz="1200" dirty="0" err="1" smtClean="0">
              <a:solidFill>
                <a:srgbClr val="FFFFFF"/>
              </a:solidFill>
            </a:endParaRPr>
          </a:p>
        </p:txBody>
      </p:sp>
      <p:sp>
        <p:nvSpPr>
          <p:cNvPr id="42" name="下矢印 41"/>
          <p:cNvSpPr/>
          <p:nvPr/>
        </p:nvSpPr>
        <p:spPr>
          <a:xfrm>
            <a:off x="5179412" y="5588792"/>
            <a:ext cx="729048" cy="379522"/>
          </a:xfrm>
          <a:prstGeom prst="downArrow">
            <a:avLst/>
          </a:prstGeom>
          <a:noFill/>
          <a:ln>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nchorCtr="0"/>
          <a:lstStyle/>
          <a:p>
            <a:pPr algn="ctr"/>
            <a:endParaRPr kumimoji="1" lang="ja-JP" altLang="en-US" sz="1200" dirty="0" err="1" smtClean="0">
              <a:solidFill>
                <a:srgbClr val="FFFFFF"/>
              </a:solidFill>
            </a:endParaRPr>
          </a:p>
        </p:txBody>
      </p:sp>
      <p:sp>
        <p:nvSpPr>
          <p:cNvPr id="5" name="テキスト ボックス 4"/>
          <p:cNvSpPr txBox="1"/>
          <p:nvPr/>
        </p:nvSpPr>
        <p:spPr>
          <a:xfrm>
            <a:off x="5086736" y="5717273"/>
            <a:ext cx="914400" cy="914400"/>
          </a:xfrm>
          <a:prstGeom prst="rect">
            <a:avLst/>
          </a:prstGeom>
          <a:noFill/>
          <a:ln cap="rnd">
            <a:noFill/>
            <a:prstDash val="solid"/>
          </a:ln>
        </p:spPr>
        <p:txBody>
          <a:bodyPr wrap="none" lIns="0" tIns="0" rIns="0" bIns="0" rtlCol="0" anchor="ctr" anchorCtr="0">
            <a:noAutofit/>
          </a:bodyPr>
          <a:lstStyle/>
          <a:p>
            <a:pPr algn="ctr"/>
            <a:r>
              <a:rPr kumimoji="1" lang="ja-JP" altLang="en-US" sz="2000" dirty="0" smtClean="0"/>
              <a:t>終了</a:t>
            </a:r>
            <a:endParaRPr kumimoji="1" lang="ja-JP" altLang="en-US" sz="1200" dirty="0" smtClean="0"/>
          </a:p>
        </p:txBody>
      </p:sp>
      <p:sp>
        <p:nvSpPr>
          <p:cNvPr id="6" name="テキスト ボックス 5"/>
          <p:cNvSpPr txBox="1"/>
          <p:nvPr/>
        </p:nvSpPr>
        <p:spPr>
          <a:xfrm>
            <a:off x="5908460" y="5316688"/>
            <a:ext cx="914400" cy="914400"/>
          </a:xfrm>
          <a:prstGeom prst="rect">
            <a:avLst/>
          </a:prstGeom>
          <a:noFill/>
          <a:ln cap="rnd">
            <a:noFill/>
            <a:prstDash val="solid"/>
          </a:ln>
        </p:spPr>
        <p:txBody>
          <a:bodyPr wrap="none" lIns="0" tIns="0" rIns="0" bIns="0" rtlCol="0" anchor="ctr" anchorCtr="0">
            <a:noAutofit/>
          </a:bodyPr>
          <a:lstStyle/>
          <a:p>
            <a:pPr algn="ctr"/>
            <a:r>
              <a:rPr kumimoji="1" lang="ja-JP" altLang="en-US" sz="2000" dirty="0" smtClean="0"/>
              <a:t>クリア</a:t>
            </a:r>
            <a:endParaRPr kumimoji="1" lang="ja-JP" altLang="en-US" sz="2000" dirty="0" smtClean="0"/>
          </a:p>
        </p:txBody>
      </p:sp>
      <p:sp>
        <p:nvSpPr>
          <p:cNvPr id="45" name="テキスト ボックス 44"/>
          <p:cNvSpPr txBox="1"/>
          <p:nvPr/>
        </p:nvSpPr>
        <p:spPr>
          <a:xfrm>
            <a:off x="2626814" y="5066026"/>
            <a:ext cx="914400" cy="914400"/>
          </a:xfrm>
          <a:prstGeom prst="rect">
            <a:avLst/>
          </a:prstGeom>
          <a:noFill/>
          <a:ln cap="rnd">
            <a:noFill/>
            <a:prstDash val="solid"/>
          </a:ln>
        </p:spPr>
        <p:txBody>
          <a:bodyPr wrap="none" lIns="0" tIns="0" rIns="0" bIns="0" rtlCol="0" anchor="ctr" anchorCtr="0">
            <a:noAutofit/>
          </a:bodyPr>
          <a:lstStyle/>
          <a:p>
            <a:pPr algn="ctr"/>
            <a:r>
              <a:rPr kumimoji="1" lang="en-US" altLang="ja-JP" sz="2000" dirty="0" smtClean="0"/>
              <a:t>Not </a:t>
            </a:r>
            <a:r>
              <a:rPr kumimoji="1" lang="ja-JP" altLang="en-US" sz="2000" dirty="0" smtClean="0"/>
              <a:t>クリア</a:t>
            </a:r>
            <a:endParaRPr kumimoji="1" lang="ja-JP" altLang="en-US" sz="2000" dirty="0" smtClean="0"/>
          </a:p>
        </p:txBody>
      </p:sp>
    </p:spTree>
    <p:extLst>
      <p:ext uri="{BB962C8B-B14F-4D97-AF65-F5344CB8AC3E}">
        <p14:creationId xmlns:p14="http://schemas.microsoft.com/office/powerpoint/2010/main" val="7077651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1" name="think-cell Slide" r:id="rId6" imgW="425" imgH="424" progId="TCLayout.ActiveDocument.1">
                  <p:embed/>
                </p:oleObj>
              </mc:Choice>
              <mc:Fallback>
                <p:oleObj name="think-cell Slide" r:id="rId6" imgW="425" imgH="4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err="1">
              <a:solidFill>
                <a:srgbClr val="FFFFFF"/>
              </a:solidFill>
              <a:latin typeface="Century Gothic" panose="020B0502020202020204" pitchFamily="34" charset="0"/>
              <a:ea typeface="+mj-ea"/>
              <a:cs typeface="+mj-cs"/>
              <a:sym typeface="Century Gothic" panose="020B0502020202020204" pitchFamily="34" charset="0"/>
            </a:endParaRPr>
          </a:p>
        </p:txBody>
      </p:sp>
      <p:grpSp>
        <p:nvGrpSpPr>
          <p:cNvPr id="8" name="Group 7"/>
          <p:cNvGrpSpPr/>
          <p:nvPr/>
        </p:nvGrpSpPr>
        <p:grpSpPr>
          <a:xfrm>
            <a:off x="-523160" y="6421877"/>
            <a:ext cx="1153160" cy="505338"/>
            <a:chOff x="8949555" y="4358421"/>
            <a:chExt cx="1667726" cy="2160000"/>
          </a:xfrm>
        </p:grpSpPr>
        <p:sp>
          <p:nvSpPr>
            <p:cNvPr id="9" name="Parallelogram 9"/>
            <p:cNvSpPr>
              <a:spLocks noChangeAspect="1"/>
            </p:cNvSpPr>
            <p:nvPr/>
          </p:nvSpPr>
          <p:spPr>
            <a:xfrm rot="18875660">
              <a:off x="874313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0" name="Parallelogram 9"/>
            <p:cNvSpPr>
              <a:spLocks noChangeAspect="1"/>
            </p:cNvSpPr>
            <p:nvPr/>
          </p:nvSpPr>
          <p:spPr>
            <a:xfrm rot="18875660">
              <a:off x="890196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1" name="Parallelogram 9"/>
            <p:cNvSpPr>
              <a:spLocks noChangeAspect="1"/>
            </p:cNvSpPr>
            <p:nvPr/>
          </p:nvSpPr>
          <p:spPr>
            <a:xfrm rot="18875660">
              <a:off x="906079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2" name="Parallelogram 9"/>
            <p:cNvSpPr>
              <a:spLocks noChangeAspect="1"/>
            </p:cNvSpPr>
            <p:nvPr/>
          </p:nvSpPr>
          <p:spPr>
            <a:xfrm rot="18875660">
              <a:off x="921962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3" name="Parallelogram 9"/>
            <p:cNvSpPr>
              <a:spLocks noChangeAspect="1"/>
            </p:cNvSpPr>
            <p:nvPr/>
          </p:nvSpPr>
          <p:spPr>
            <a:xfrm rot="18875660">
              <a:off x="937845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4" name="Parallelogram 9"/>
            <p:cNvSpPr>
              <a:spLocks noChangeAspect="1"/>
            </p:cNvSpPr>
            <p:nvPr/>
          </p:nvSpPr>
          <p:spPr>
            <a:xfrm rot="18875660">
              <a:off x="953728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5" name="Parallelogram 9"/>
            <p:cNvSpPr>
              <a:spLocks noChangeAspect="1"/>
            </p:cNvSpPr>
            <p:nvPr/>
          </p:nvSpPr>
          <p:spPr>
            <a:xfrm rot="18875660">
              <a:off x="866371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6" name="Parallelogram 9"/>
            <p:cNvSpPr>
              <a:spLocks noChangeAspect="1"/>
            </p:cNvSpPr>
            <p:nvPr/>
          </p:nvSpPr>
          <p:spPr>
            <a:xfrm rot="18875660">
              <a:off x="882254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7" name="Parallelogram 9"/>
            <p:cNvSpPr>
              <a:spLocks noChangeAspect="1"/>
            </p:cNvSpPr>
            <p:nvPr/>
          </p:nvSpPr>
          <p:spPr>
            <a:xfrm rot="18875660">
              <a:off x="898137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8" name="Parallelogram 9"/>
            <p:cNvSpPr>
              <a:spLocks noChangeAspect="1"/>
            </p:cNvSpPr>
            <p:nvPr/>
          </p:nvSpPr>
          <p:spPr>
            <a:xfrm rot="18875660">
              <a:off x="914021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9" name="Parallelogram 9"/>
            <p:cNvSpPr>
              <a:spLocks noChangeAspect="1"/>
            </p:cNvSpPr>
            <p:nvPr/>
          </p:nvSpPr>
          <p:spPr>
            <a:xfrm rot="18875660">
              <a:off x="929904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0" name="Parallelogram 9"/>
            <p:cNvSpPr>
              <a:spLocks noChangeAspect="1"/>
            </p:cNvSpPr>
            <p:nvPr/>
          </p:nvSpPr>
          <p:spPr>
            <a:xfrm rot="18875660">
              <a:off x="945787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1" name="Parallelogram 9"/>
            <p:cNvSpPr>
              <a:spLocks noChangeAspect="1"/>
            </p:cNvSpPr>
            <p:nvPr/>
          </p:nvSpPr>
          <p:spPr>
            <a:xfrm rot="18875660">
              <a:off x="794897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2" name="Parallelogram 9"/>
            <p:cNvSpPr>
              <a:spLocks noChangeAspect="1"/>
            </p:cNvSpPr>
            <p:nvPr/>
          </p:nvSpPr>
          <p:spPr>
            <a:xfrm rot="18875660">
              <a:off x="810780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3" name="Parallelogram 9"/>
            <p:cNvSpPr>
              <a:spLocks noChangeAspect="1"/>
            </p:cNvSpPr>
            <p:nvPr/>
          </p:nvSpPr>
          <p:spPr>
            <a:xfrm rot="18875660">
              <a:off x="826663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4" name="Parallelogram 9"/>
            <p:cNvSpPr>
              <a:spLocks noChangeAspect="1"/>
            </p:cNvSpPr>
            <p:nvPr/>
          </p:nvSpPr>
          <p:spPr>
            <a:xfrm rot="18875660">
              <a:off x="842546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5" name="Parallelogram 9"/>
            <p:cNvSpPr>
              <a:spLocks noChangeAspect="1"/>
            </p:cNvSpPr>
            <p:nvPr/>
          </p:nvSpPr>
          <p:spPr>
            <a:xfrm rot="18875660">
              <a:off x="858429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6" name="Parallelogram 9"/>
            <p:cNvSpPr>
              <a:spLocks noChangeAspect="1"/>
            </p:cNvSpPr>
            <p:nvPr/>
          </p:nvSpPr>
          <p:spPr>
            <a:xfrm rot="18875660">
              <a:off x="786955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7" name="Parallelogram 9"/>
            <p:cNvSpPr>
              <a:spLocks noChangeAspect="1"/>
            </p:cNvSpPr>
            <p:nvPr/>
          </p:nvSpPr>
          <p:spPr>
            <a:xfrm rot="18875660">
              <a:off x="802838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8" name="Parallelogram 9"/>
            <p:cNvSpPr>
              <a:spLocks noChangeAspect="1"/>
            </p:cNvSpPr>
            <p:nvPr/>
          </p:nvSpPr>
          <p:spPr>
            <a:xfrm rot="18875660">
              <a:off x="818721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9" name="Parallelogram 9"/>
            <p:cNvSpPr>
              <a:spLocks noChangeAspect="1"/>
            </p:cNvSpPr>
            <p:nvPr/>
          </p:nvSpPr>
          <p:spPr>
            <a:xfrm rot="18875660">
              <a:off x="834605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30" name="Parallelogram 9"/>
            <p:cNvSpPr>
              <a:spLocks noChangeAspect="1"/>
            </p:cNvSpPr>
            <p:nvPr/>
          </p:nvSpPr>
          <p:spPr>
            <a:xfrm rot="18875660">
              <a:off x="850488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grpSp>
      <p:sp>
        <p:nvSpPr>
          <p:cNvPr id="7" name="Title 6"/>
          <p:cNvSpPr>
            <a:spLocks noGrp="1"/>
          </p:cNvSpPr>
          <p:nvPr>
            <p:ph type="title"/>
          </p:nvPr>
        </p:nvSpPr>
        <p:spPr>
          <a:xfrm>
            <a:off x="630000" y="622800"/>
            <a:ext cx="8647200" cy="332399"/>
          </a:xfrm>
        </p:spPr>
        <p:txBody>
          <a:bodyPr vert="horz" wrap="square" lIns="0" tIns="0" rIns="0" bIns="0" rtlCol="0" anchor="t">
            <a:spAutoFit/>
          </a:bodyPr>
          <a:lstStyle/>
          <a:p>
            <a:r>
              <a:rPr lang="en-US" altLang="ja-JP" sz="2400" b="1" dirty="0">
                <a:solidFill>
                  <a:schemeClr val="accent6"/>
                </a:solidFill>
                <a:latin typeface="Century Gothic" panose="020B0502020202020204" pitchFamily="34" charset="0"/>
              </a:rPr>
              <a:t>3</a:t>
            </a:r>
            <a:r>
              <a:rPr lang="en-US" altLang="ja-JP" sz="2400" b="1" dirty="0" smtClean="0">
                <a:solidFill>
                  <a:schemeClr val="accent6"/>
                </a:solidFill>
                <a:latin typeface="Century Gothic" panose="020B0502020202020204" pitchFamily="34" charset="0"/>
              </a:rPr>
              <a:t>. </a:t>
            </a:r>
            <a:r>
              <a:rPr lang="ja-JP" altLang="en-US" sz="2400" b="1" dirty="0" smtClean="0">
                <a:solidFill>
                  <a:schemeClr val="accent6"/>
                </a:solidFill>
                <a:latin typeface="Century Gothic" panose="020B0502020202020204" pitchFamily="34" charset="0"/>
              </a:rPr>
              <a:t>モデルの学習</a:t>
            </a:r>
            <a:endParaRPr lang="ja-JP" altLang="en-US" sz="2400" b="1" dirty="0">
              <a:solidFill>
                <a:schemeClr val="accent6"/>
              </a:solidFill>
              <a:latin typeface="Century Gothic" panose="020B0502020202020204" pitchFamily="34" charset="0"/>
            </a:endParaRPr>
          </a:p>
        </p:txBody>
      </p:sp>
      <p:sp>
        <p:nvSpPr>
          <p:cNvPr id="59" name="Parallelogram 9"/>
          <p:cNvSpPr>
            <a:spLocks noChangeAspect="1"/>
          </p:cNvSpPr>
          <p:nvPr/>
        </p:nvSpPr>
        <p:spPr>
          <a:xfrm rot="18875660">
            <a:off x="260275" y="227459"/>
            <a:ext cx="180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0" name="Parallelogram 9"/>
          <p:cNvSpPr>
            <a:spLocks noChangeAspect="1"/>
          </p:cNvSpPr>
          <p:nvPr/>
        </p:nvSpPr>
        <p:spPr>
          <a:xfrm rot="18875660">
            <a:off x="389063" y="488032"/>
            <a:ext cx="54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2" name="Parallelogram 9"/>
          <p:cNvSpPr>
            <a:spLocks noChangeAspect="1"/>
          </p:cNvSpPr>
          <p:nvPr/>
        </p:nvSpPr>
        <p:spPr>
          <a:xfrm rot="18875660">
            <a:off x="-330207" y="684657"/>
            <a:ext cx="108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56" name="Isosceles Triangle 55"/>
          <p:cNvSpPr>
            <a:spLocks/>
          </p:cNvSpPr>
          <p:nvPr/>
        </p:nvSpPr>
        <p:spPr>
          <a:xfrm rot="10800000" flipH="1" flipV="1">
            <a:off x="9546671" y="6498149"/>
            <a:ext cx="359329" cy="359850"/>
          </a:xfrm>
          <a:prstGeom prst="triangle">
            <a:avLst>
              <a:gd name="adj" fmla="val 100000"/>
            </a:avLst>
          </a:prstGeom>
          <a:solidFill>
            <a:srgbClr val="30C1D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latin typeface="Calibri" panose="020F0502020204030204" pitchFamily="34" charset="0"/>
              <a:cs typeface="Calibri" panose="020F0502020204030204" pitchFamily="34" charset="0"/>
            </a:endParaRPr>
          </a:p>
        </p:txBody>
      </p:sp>
      <p:sp>
        <p:nvSpPr>
          <p:cNvPr id="46" name="Rectangle 45"/>
          <p:cNvSpPr/>
          <p:nvPr/>
        </p:nvSpPr>
        <p:spPr>
          <a:xfrm>
            <a:off x="527074" y="1396223"/>
            <a:ext cx="8851850" cy="4984408"/>
          </a:xfrm>
          <a:prstGeom prst="rect">
            <a:avLst/>
          </a:prstGeom>
          <a:noFill/>
          <a:ln w="9525" cap="rnd" cmpd="sng" algn="ctr">
            <a:solidFill>
              <a:srgbClr val="9A9A9A"/>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kumimoji="1" lang="en-US" sz="1000" dirty="0" err="1">
              <a:solidFill>
                <a:srgbClr val="575757"/>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xmlns="" id="{547CA64D-CDDA-DD49-B0E0-FA53E3743184}"/>
              </a:ext>
            </a:extLst>
          </p:cNvPr>
          <p:cNvSpPr txBox="1"/>
          <p:nvPr/>
        </p:nvSpPr>
        <p:spPr>
          <a:xfrm>
            <a:off x="642664" y="1577538"/>
            <a:ext cx="8736260" cy="678125"/>
          </a:xfrm>
          <a:prstGeom prst="rect">
            <a:avLst/>
          </a:prstGeom>
          <a:noFill/>
          <a:ln cap="rnd">
            <a:noFill/>
            <a:prstDash val="solid"/>
          </a:ln>
        </p:spPr>
        <p:txBody>
          <a:bodyPr wrap="none" lIns="0" tIns="0" rIns="0" bIns="0" rtlCol="0" anchor="t" anchorCtr="0">
            <a:noAutofit/>
          </a:bodyPr>
          <a:lstStyle/>
          <a:p>
            <a:pPr marL="285750" indent="-285750">
              <a:buFont typeface="Arial" charset="0"/>
              <a:buChar char="•"/>
            </a:pPr>
            <a:r>
              <a:rPr kumimoji="1" lang="ja-JP" altLang="en-US" sz="2000" dirty="0" smtClean="0"/>
              <a:t>学習データ</a:t>
            </a:r>
            <a:endParaRPr kumimoji="1" lang="en-US" altLang="ja-JP" sz="2000" dirty="0" smtClean="0"/>
          </a:p>
          <a:p>
            <a:pPr marL="742950" lvl="1" indent="-285750">
              <a:buFont typeface="Arial" charset="0"/>
              <a:buChar char="•"/>
            </a:pPr>
            <a:r>
              <a:rPr kumimoji="1" lang="ja-JP" altLang="en-US" sz="2000" dirty="0" smtClean="0"/>
              <a:t>コースごとにデータを集める</a:t>
            </a:r>
            <a:endParaRPr kumimoji="1" lang="en-US" altLang="ja-JP" sz="2000" dirty="0" smtClean="0"/>
          </a:p>
          <a:p>
            <a:pPr marL="1200150" lvl="2" indent="-285750">
              <a:buFont typeface="Arial" charset="0"/>
              <a:buChar char="•"/>
            </a:pPr>
            <a:r>
              <a:rPr kumimoji="1" lang="ja-JP" altLang="en-US" sz="2000" dirty="0" smtClean="0"/>
              <a:t>まずは道路の中心を走ってデータを集める</a:t>
            </a:r>
            <a:endParaRPr kumimoji="1" lang="en-US" altLang="ja-JP" sz="2000" dirty="0" smtClean="0"/>
          </a:p>
          <a:p>
            <a:pPr marL="1200150" lvl="2" indent="-285750">
              <a:buFont typeface="Arial" charset="0"/>
              <a:buChar char="•"/>
            </a:pPr>
            <a:r>
              <a:rPr kumimoji="1" lang="ja-JP" altLang="en-US" sz="2000" dirty="0" smtClean="0"/>
              <a:t>作成したモデルで自動運転させ、事故った箇所を追加でデータをとる</a:t>
            </a:r>
            <a:endParaRPr kumimoji="1" lang="en-US" altLang="ja-JP" sz="2000" dirty="0" smtClean="0"/>
          </a:p>
          <a:p>
            <a:pPr marL="285750" indent="-285750">
              <a:buFont typeface="Arial" charset="0"/>
              <a:buChar char="•"/>
            </a:pPr>
            <a:r>
              <a:rPr kumimoji="1" lang="ja-JP" altLang="en-US" sz="2000" dirty="0" smtClean="0"/>
              <a:t>モデル</a:t>
            </a:r>
            <a:endParaRPr kumimoji="1" lang="en-US" altLang="ja-JP" sz="2000" dirty="0" smtClean="0"/>
          </a:p>
          <a:p>
            <a:pPr marL="742950" lvl="1" indent="-285750">
              <a:buFont typeface="Arial" charset="0"/>
              <a:buChar char="•"/>
            </a:pPr>
            <a:r>
              <a:rPr kumimoji="1" lang="en-US" altLang="ja-JP" sz="2000" dirty="0" smtClean="0"/>
              <a:t>NVIDIA</a:t>
            </a:r>
          </a:p>
          <a:p>
            <a:pPr marL="285750" indent="-285750">
              <a:buFont typeface="Arial" charset="0"/>
              <a:buChar char="•"/>
            </a:pPr>
            <a:r>
              <a:rPr kumimoji="1" lang="ja-JP" altLang="en-US" sz="2000" dirty="0" smtClean="0"/>
              <a:t>学習</a:t>
            </a:r>
            <a:endParaRPr kumimoji="1" lang="en-US" altLang="ja-JP" sz="2000" dirty="0" smtClean="0"/>
          </a:p>
          <a:p>
            <a:pPr marL="742950" lvl="1" indent="-285750">
              <a:buFont typeface="Arial" charset="0"/>
              <a:buChar char="•"/>
            </a:pPr>
            <a:r>
              <a:rPr kumimoji="1" lang="ja-JP" altLang="en-US" sz="2000" dirty="0" smtClean="0"/>
              <a:t>左右中央のカメラデータについて、左右対称させて学習。</a:t>
            </a:r>
            <a:endParaRPr kumimoji="1" lang="en-US" altLang="ja-JP" sz="2000" dirty="0" smtClean="0"/>
          </a:p>
          <a:p>
            <a:pPr marL="1200150" lvl="2" indent="-285750">
              <a:buFont typeface="Arial" charset="0"/>
              <a:buChar char="•"/>
            </a:pPr>
            <a:r>
              <a:rPr kumimoji="1" lang="ja-JP" altLang="en-US" sz="2000" dirty="0" smtClean="0"/>
              <a:t>左右カメラデータについては、</a:t>
            </a:r>
            <a:r>
              <a:rPr kumimoji="1" lang="en-US" altLang="ja-JP" sz="2000" dirty="0" smtClean="0"/>
              <a:t>Parameter</a:t>
            </a:r>
            <a:r>
              <a:rPr kumimoji="1" lang="ja-JP" altLang="en-US" sz="2000" dirty="0" smtClean="0"/>
              <a:t>を</a:t>
            </a:r>
            <a:r>
              <a:rPr kumimoji="1" lang="en-US" altLang="ja-JP" sz="2000" dirty="0" smtClean="0"/>
              <a:t>0.2</a:t>
            </a:r>
          </a:p>
          <a:p>
            <a:pPr marL="742950" lvl="1" indent="-285750">
              <a:buFont typeface="Arial" charset="0"/>
              <a:buChar char="•"/>
            </a:pPr>
            <a:r>
              <a:rPr kumimoji="1" lang="ja-JP" altLang="en-US" sz="2000" dirty="0" smtClean="0"/>
              <a:t>データ量が多いため、</a:t>
            </a:r>
            <a:r>
              <a:rPr kumimoji="1" lang="en-US" altLang="ja-JP" sz="2000" dirty="0" err="1" smtClean="0"/>
              <a:t>fit_generator</a:t>
            </a:r>
            <a:r>
              <a:rPr kumimoji="1" lang="ja-JP" altLang="en-US" sz="2000" dirty="0" smtClean="0"/>
              <a:t>を使用して、メモリ量を節約。</a:t>
            </a:r>
            <a:endParaRPr kumimoji="1" lang="en-US" altLang="ja-JP" sz="2000" dirty="0" smtClean="0"/>
          </a:p>
          <a:p>
            <a:pPr marL="742950" lvl="1" indent="-285750">
              <a:buFont typeface="Arial" charset="0"/>
              <a:buChar char="•"/>
            </a:pPr>
            <a:endParaRPr kumimoji="1" lang="en-US" altLang="ja-JP" sz="2000" dirty="0" smtClean="0"/>
          </a:p>
          <a:p>
            <a:pPr marL="285750" indent="-285750">
              <a:buFont typeface="Arial" charset="0"/>
              <a:buChar char="•"/>
            </a:pPr>
            <a:endParaRPr kumimoji="1" lang="en-US" altLang="ja-JP" sz="2000" dirty="0" smtClean="0"/>
          </a:p>
        </p:txBody>
      </p:sp>
    </p:spTree>
    <p:extLst>
      <p:ext uri="{BB962C8B-B14F-4D97-AF65-F5344CB8AC3E}">
        <p14:creationId xmlns:p14="http://schemas.microsoft.com/office/powerpoint/2010/main" val="385595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4" name="think-cell Slide" r:id="rId6" imgW="425" imgH="424" progId="TCLayout.ActiveDocument.1">
                  <p:embed/>
                </p:oleObj>
              </mc:Choice>
              <mc:Fallback>
                <p:oleObj name="think-cell Slide" r:id="rId6" imgW="425" imgH="4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err="1">
              <a:solidFill>
                <a:srgbClr val="FFFFFF"/>
              </a:solidFill>
              <a:latin typeface="Century Gothic" panose="020B0502020202020204" pitchFamily="34" charset="0"/>
              <a:ea typeface="+mj-ea"/>
              <a:cs typeface="+mj-cs"/>
              <a:sym typeface="Century Gothic" panose="020B0502020202020204" pitchFamily="34" charset="0"/>
            </a:endParaRPr>
          </a:p>
        </p:txBody>
      </p:sp>
      <p:grpSp>
        <p:nvGrpSpPr>
          <p:cNvPr id="8" name="Group 7"/>
          <p:cNvGrpSpPr/>
          <p:nvPr/>
        </p:nvGrpSpPr>
        <p:grpSpPr>
          <a:xfrm>
            <a:off x="-523160" y="6421877"/>
            <a:ext cx="1153160" cy="505338"/>
            <a:chOff x="8949555" y="4358421"/>
            <a:chExt cx="1667726" cy="2160000"/>
          </a:xfrm>
        </p:grpSpPr>
        <p:sp>
          <p:nvSpPr>
            <p:cNvPr id="9" name="Parallelogram 9"/>
            <p:cNvSpPr>
              <a:spLocks noChangeAspect="1"/>
            </p:cNvSpPr>
            <p:nvPr/>
          </p:nvSpPr>
          <p:spPr>
            <a:xfrm rot="18875660">
              <a:off x="874313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0" name="Parallelogram 9"/>
            <p:cNvSpPr>
              <a:spLocks noChangeAspect="1"/>
            </p:cNvSpPr>
            <p:nvPr/>
          </p:nvSpPr>
          <p:spPr>
            <a:xfrm rot="18875660">
              <a:off x="890196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1" name="Parallelogram 9"/>
            <p:cNvSpPr>
              <a:spLocks noChangeAspect="1"/>
            </p:cNvSpPr>
            <p:nvPr/>
          </p:nvSpPr>
          <p:spPr>
            <a:xfrm rot="18875660">
              <a:off x="906079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2" name="Parallelogram 9"/>
            <p:cNvSpPr>
              <a:spLocks noChangeAspect="1"/>
            </p:cNvSpPr>
            <p:nvPr/>
          </p:nvSpPr>
          <p:spPr>
            <a:xfrm rot="18875660">
              <a:off x="921962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3" name="Parallelogram 9"/>
            <p:cNvSpPr>
              <a:spLocks noChangeAspect="1"/>
            </p:cNvSpPr>
            <p:nvPr/>
          </p:nvSpPr>
          <p:spPr>
            <a:xfrm rot="18875660">
              <a:off x="937845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4" name="Parallelogram 9"/>
            <p:cNvSpPr>
              <a:spLocks noChangeAspect="1"/>
            </p:cNvSpPr>
            <p:nvPr/>
          </p:nvSpPr>
          <p:spPr>
            <a:xfrm rot="18875660">
              <a:off x="953728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5" name="Parallelogram 9"/>
            <p:cNvSpPr>
              <a:spLocks noChangeAspect="1"/>
            </p:cNvSpPr>
            <p:nvPr/>
          </p:nvSpPr>
          <p:spPr>
            <a:xfrm rot="18875660">
              <a:off x="866371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6" name="Parallelogram 9"/>
            <p:cNvSpPr>
              <a:spLocks noChangeAspect="1"/>
            </p:cNvSpPr>
            <p:nvPr/>
          </p:nvSpPr>
          <p:spPr>
            <a:xfrm rot="18875660">
              <a:off x="882254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7" name="Parallelogram 9"/>
            <p:cNvSpPr>
              <a:spLocks noChangeAspect="1"/>
            </p:cNvSpPr>
            <p:nvPr/>
          </p:nvSpPr>
          <p:spPr>
            <a:xfrm rot="18875660">
              <a:off x="898137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8" name="Parallelogram 9"/>
            <p:cNvSpPr>
              <a:spLocks noChangeAspect="1"/>
            </p:cNvSpPr>
            <p:nvPr/>
          </p:nvSpPr>
          <p:spPr>
            <a:xfrm rot="18875660">
              <a:off x="914021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9" name="Parallelogram 9"/>
            <p:cNvSpPr>
              <a:spLocks noChangeAspect="1"/>
            </p:cNvSpPr>
            <p:nvPr/>
          </p:nvSpPr>
          <p:spPr>
            <a:xfrm rot="18875660">
              <a:off x="929904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0" name="Parallelogram 9"/>
            <p:cNvSpPr>
              <a:spLocks noChangeAspect="1"/>
            </p:cNvSpPr>
            <p:nvPr/>
          </p:nvSpPr>
          <p:spPr>
            <a:xfrm rot="18875660">
              <a:off x="945787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1" name="Parallelogram 9"/>
            <p:cNvSpPr>
              <a:spLocks noChangeAspect="1"/>
            </p:cNvSpPr>
            <p:nvPr/>
          </p:nvSpPr>
          <p:spPr>
            <a:xfrm rot="18875660">
              <a:off x="794897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2" name="Parallelogram 9"/>
            <p:cNvSpPr>
              <a:spLocks noChangeAspect="1"/>
            </p:cNvSpPr>
            <p:nvPr/>
          </p:nvSpPr>
          <p:spPr>
            <a:xfrm rot="18875660">
              <a:off x="810780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3" name="Parallelogram 9"/>
            <p:cNvSpPr>
              <a:spLocks noChangeAspect="1"/>
            </p:cNvSpPr>
            <p:nvPr/>
          </p:nvSpPr>
          <p:spPr>
            <a:xfrm rot="18875660">
              <a:off x="826663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4" name="Parallelogram 9"/>
            <p:cNvSpPr>
              <a:spLocks noChangeAspect="1"/>
            </p:cNvSpPr>
            <p:nvPr/>
          </p:nvSpPr>
          <p:spPr>
            <a:xfrm rot="18875660">
              <a:off x="842546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5" name="Parallelogram 9"/>
            <p:cNvSpPr>
              <a:spLocks noChangeAspect="1"/>
            </p:cNvSpPr>
            <p:nvPr/>
          </p:nvSpPr>
          <p:spPr>
            <a:xfrm rot="18875660">
              <a:off x="858429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6" name="Parallelogram 9"/>
            <p:cNvSpPr>
              <a:spLocks noChangeAspect="1"/>
            </p:cNvSpPr>
            <p:nvPr/>
          </p:nvSpPr>
          <p:spPr>
            <a:xfrm rot="18875660">
              <a:off x="786955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7" name="Parallelogram 9"/>
            <p:cNvSpPr>
              <a:spLocks noChangeAspect="1"/>
            </p:cNvSpPr>
            <p:nvPr/>
          </p:nvSpPr>
          <p:spPr>
            <a:xfrm rot="18875660">
              <a:off x="802838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8" name="Parallelogram 9"/>
            <p:cNvSpPr>
              <a:spLocks noChangeAspect="1"/>
            </p:cNvSpPr>
            <p:nvPr/>
          </p:nvSpPr>
          <p:spPr>
            <a:xfrm rot="18875660">
              <a:off x="818721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9" name="Parallelogram 9"/>
            <p:cNvSpPr>
              <a:spLocks noChangeAspect="1"/>
            </p:cNvSpPr>
            <p:nvPr/>
          </p:nvSpPr>
          <p:spPr>
            <a:xfrm rot="18875660">
              <a:off x="834605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30" name="Parallelogram 9"/>
            <p:cNvSpPr>
              <a:spLocks noChangeAspect="1"/>
            </p:cNvSpPr>
            <p:nvPr/>
          </p:nvSpPr>
          <p:spPr>
            <a:xfrm rot="18875660">
              <a:off x="850488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grpSp>
      <p:sp>
        <p:nvSpPr>
          <p:cNvPr id="7" name="Title 6"/>
          <p:cNvSpPr>
            <a:spLocks noGrp="1"/>
          </p:cNvSpPr>
          <p:nvPr>
            <p:ph type="title"/>
          </p:nvPr>
        </p:nvSpPr>
        <p:spPr>
          <a:xfrm>
            <a:off x="630000" y="622800"/>
            <a:ext cx="8647200" cy="332399"/>
          </a:xfrm>
        </p:spPr>
        <p:txBody>
          <a:bodyPr vert="horz" wrap="square" lIns="0" tIns="0" rIns="0" bIns="0" rtlCol="0" anchor="t">
            <a:spAutoFit/>
          </a:bodyPr>
          <a:lstStyle/>
          <a:p>
            <a:r>
              <a:rPr lang="en-US" altLang="ja-JP" sz="2400" b="1" dirty="0" smtClean="0">
                <a:solidFill>
                  <a:schemeClr val="accent6"/>
                </a:solidFill>
                <a:latin typeface="Century Gothic" panose="020B0502020202020204" pitchFamily="34" charset="0"/>
              </a:rPr>
              <a:t>4</a:t>
            </a:r>
            <a:r>
              <a:rPr lang="en-US" altLang="ja-JP" sz="2400" b="1" dirty="0" smtClean="0">
                <a:solidFill>
                  <a:schemeClr val="accent6"/>
                </a:solidFill>
                <a:latin typeface="Century Gothic" panose="020B0502020202020204" pitchFamily="34" charset="0"/>
              </a:rPr>
              <a:t>. </a:t>
            </a:r>
            <a:r>
              <a:rPr lang="en-US" altLang="ja-JP" sz="2400" b="1" dirty="0">
                <a:solidFill>
                  <a:schemeClr val="accent6"/>
                </a:solidFill>
                <a:latin typeface="Century Gothic" panose="020B0502020202020204" pitchFamily="34" charset="0"/>
              </a:rPr>
              <a:t> </a:t>
            </a:r>
            <a:r>
              <a:rPr lang="ja-JP" altLang="en-US" sz="2400" b="1" dirty="0" smtClean="0">
                <a:solidFill>
                  <a:schemeClr val="accent6"/>
                </a:solidFill>
                <a:latin typeface="Century Gothic" panose="020B0502020202020204" pitchFamily="34" charset="0"/>
              </a:rPr>
              <a:t>自動運転について</a:t>
            </a:r>
            <a:endParaRPr lang="ja-JP" altLang="en-US" sz="2400" b="1" dirty="0">
              <a:solidFill>
                <a:schemeClr val="accent6"/>
              </a:solidFill>
              <a:latin typeface="Century Gothic" panose="020B0502020202020204" pitchFamily="34" charset="0"/>
            </a:endParaRPr>
          </a:p>
        </p:txBody>
      </p:sp>
      <p:sp>
        <p:nvSpPr>
          <p:cNvPr id="59" name="Parallelogram 9"/>
          <p:cNvSpPr>
            <a:spLocks noChangeAspect="1"/>
          </p:cNvSpPr>
          <p:nvPr/>
        </p:nvSpPr>
        <p:spPr>
          <a:xfrm rot="18875660">
            <a:off x="260275" y="227459"/>
            <a:ext cx="180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0" name="Parallelogram 9"/>
          <p:cNvSpPr>
            <a:spLocks noChangeAspect="1"/>
          </p:cNvSpPr>
          <p:nvPr/>
        </p:nvSpPr>
        <p:spPr>
          <a:xfrm rot="18875660">
            <a:off x="389063" y="488032"/>
            <a:ext cx="54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2" name="Parallelogram 9"/>
          <p:cNvSpPr>
            <a:spLocks noChangeAspect="1"/>
          </p:cNvSpPr>
          <p:nvPr/>
        </p:nvSpPr>
        <p:spPr>
          <a:xfrm rot="18875660">
            <a:off x="-330207" y="684657"/>
            <a:ext cx="108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56" name="Isosceles Triangle 55"/>
          <p:cNvSpPr>
            <a:spLocks/>
          </p:cNvSpPr>
          <p:nvPr/>
        </p:nvSpPr>
        <p:spPr>
          <a:xfrm rot="10800000" flipH="1" flipV="1">
            <a:off x="9546671" y="6498149"/>
            <a:ext cx="359329" cy="359850"/>
          </a:xfrm>
          <a:prstGeom prst="triangle">
            <a:avLst>
              <a:gd name="adj" fmla="val 100000"/>
            </a:avLst>
          </a:prstGeom>
          <a:solidFill>
            <a:srgbClr val="30C1D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latin typeface="Calibri" panose="020F0502020204030204" pitchFamily="34" charset="0"/>
              <a:cs typeface="Calibri" panose="020F0502020204030204" pitchFamily="34" charset="0"/>
            </a:endParaRPr>
          </a:p>
        </p:txBody>
      </p:sp>
      <p:sp>
        <p:nvSpPr>
          <p:cNvPr id="46" name="Rectangle 45"/>
          <p:cNvSpPr/>
          <p:nvPr/>
        </p:nvSpPr>
        <p:spPr>
          <a:xfrm>
            <a:off x="527074" y="1396223"/>
            <a:ext cx="8851850" cy="4984408"/>
          </a:xfrm>
          <a:prstGeom prst="rect">
            <a:avLst/>
          </a:prstGeom>
          <a:noFill/>
          <a:ln w="9525" cap="rnd" cmpd="sng" algn="ctr">
            <a:solidFill>
              <a:srgbClr val="9A9A9A"/>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kumimoji="1" lang="en-US" sz="1000" dirty="0" err="1">
              <a:solidFill>
                <a:srgbClr val="575757"/>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xmlns="" id="{547CA64D-CDDA-DD49-B0E0-FA53E3743184}"/>
              </a:ext>
            </a:extLst>
          </p:cNvPr>
          <p:cNvSpPr txBox="1"/>
          <p:nvPr/>
        </p:nvSpPr>
        <p:spPr>
          <a:xfrm>
            <a:off x="642664" y="1577538"/>
            <a:ext cx="8736260" cy="678125"/>
          </a:xfrm>
          <a:prstGeom prst="rect">
            <a:avLst/>
          </a:prstGeom>
          <a:noFill/>
          <a:ln cap="rnd">
            <a:noFill/>
            <a:prstDash val="solid"/>
          </a:ln>
        </p:spPr>
        <p:txBody>
          <a:bodyPr wrap="none" lIns="0" tIns="0" rIns="0" bIns="0" rtlCol="0" anchor="t" anchorCtr="0">
            <a:noAutofit/>
          </a:bodyPr>
          <a:lstStyle/>
          <a:p>
            <a:pPr marL="285750" indent="-285750">
              <a:buFont typeface="Arial" charset="0"/>
              <a:buChar char="•"/>
            </a:pPr>
            <a:r>
              <a:rPr kumimoji="1" lang="ja-JP" altLang="en-US" sz="2000" dirty="0" smtClean="0"/>
              <a:t>本課題で、速度制限がないことから、最大速度を</a:t>
            </a:r>
            <a:r>
              <a:rPr kumimoji="1" lang="en-US" altLang="ja-JP" sz="2000" dirty="0" smtClean="0"/>
              <a:t>10</a:t>
            </a:r>
            <a:r>
              <a:rPr kumimoji="1" lang="ja-JP" altLang="en-US" sz="2000" dirty="0" smtClean="0"/>
              <a:t>、最小速度を</a:t>
            </a:r>
            <a:r>
              <a:rPr kumimoji="1" lang="en-US" altLang="ja-JP" sz="2000" dirty="0" smtClean="0"/>
              <a:t>5</a:t>
            </a:r>
            <a:r>
              <a:rPr kumimoji="1" lang="ja-JP" altLang="en-US" sz="2000" dirty="0" smtClean="0"/>
              <a:t>に変更。</a:t>
            </a:r>
            <a:endParaRPr kumimoji="1" lang="en-US" altLang="ja-JP" sz="2000" dirty="0"/>
          </a:p>
          <a:p>
            <a:pPr marL="285750" indent="-285750">
              <a:buFont typeface="Arial" charset="0"/>
              <a:buChar char="•"/>
            </a:pPr>
            <a:endParaRPr kumimoji="1" lang="en-US" altLang="ja-JP" sz="2000" dirty="0" smtClean="0"/>
          </a:p>
        </p:txBody>
      </p:sp>
    </p:spTree>
    <p:extLst>
      <p:ext uri="{BB962C8B-B14F-4D97-AF65-F5344CB8AC3E}">
        <p14:creationId xmlns:p14="http://schemas.microsoft.com/office/powerpoint/2010/main" val="70259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1"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err="1">
              <a:solidFill>
                <a:srgbClr val="FFFFFF"/>
              </a:solidFill>
              <a:latin typeface="Century Gothic" panose="020B0502020202020204" pitchFamily="34" charset="0"/>
              <a:ea typeface="+mj-ea"/>
              <a:cs typeface="+mj-cs"/>
              <a:sym typeface="Century Gothic" panose="020B0502020202020204" pitchFamily="34" charset="0"/>
            </a:endParaRPr>
          </a:p>
        </p:txBody>
      </p:sp>
      <p:grpSp>
        <p:nvGrpSpPr>
          <p:cNvPr id="8" name="Group 7"/>
          <p:cNvGrpSpPr/>
          <p:nvPr/>
        </p:nvGrpSpPr>
        <p:grpSpPr>
          <a:xfrm>
            <a:off x="-523160" y="6421877"/>
            <a:ext cx="1153160" cy="505338"/>
            <a:chOff x="8949555" y="4358421"/>
            <a:chExt cx="1667726" cy="2160000"/>
          </a:xfrm>
        </p:grpSpPr>
        <p:sp>
          <p:nvSpPr>
            <p:cNvPr id="9" name="Parallelogram 9"/>
            <p:cNvSpPr>
              <a:spLocks noChangeAspect="1"/>
            </p:cNvSpPr>
            <p:nvPr/>
          </p:nvSpPr>
          <p:spPr>
            <a:xfrm rot="18875660">
              <a:off x="874313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0" name="Parallelogram 9"/>
            <p:cNvSpPr>
              <a:spLocks noChangeAspect="1"/>
            </p:cNvSpPr>
            <p:nvPr/>
          </p:nvSpPr>
          <p:spPr>
            <a:xfrm rot="18875660">
              <a:off x="890196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1" name="Parallelogram 9"/>
            <p:cNvSpPr>
              <a:spLocks noChangeAspect="1"/>
            </p:cNvSpPr>
            <p:nvPr/>
          </p:nvSpPr>
          <p:spPr>
            <a:xfrm rot="18875660">
              <a:off x="906079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2" name="Parallelogram 9"/>
            <p:cNvSpPr>
              <a:spLocks noChangeAspect="1"/>
            </p:cNvSpPr>
            <p:nvPr/>
          </p:nvSpPr>
          <p:spPr>
            <a:xfrm rot="18875660">
              <a:off x="921962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3" name="Parallelogram 9"/>
            <p:cNvSpPr>
              <a:spLocks noChangeAspect="1"/>
            </p:cNvSpPr>
            <p:nvPr/>
          </p:nvSpPr>
          <p:spPr>
            <a:xfrm rot="18875660">
              <a:off x="937845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4" name="Parallelogram 9"/>
            <p:cNvSpPr>
              <a:spLocks noChangeAspect="1"/>
            </p:cNvSpPr>
            <p:nvPr/>
          </p:nvSpPr>
          <p:spPr>
            <a:xfrm rot="18875660">
              <a:off x="953728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5" name="Parallelogram 9"/>
            <p:cNvSpPr>
              <a:spLocks noChangeAspect="1"/>
            </p:cNvSpPr>
            <p:nvPr/>
          </p:nvSpPr>
          <p:spPr>
            <a:xfrm rot="18875660">
              <a:off x="866371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6" name="Parallelogram 9"/>
            <p:cNvSpPr>
              <a:spLocks noChangeAspect="1"/>
            </p:cNvSpPr>
            <p:nvPr/>
          </p:nvSpPr>
          <p:spPr>
            <a:xfrm rot="18875660">
              <a:off x="882254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7" name="Parallelogram 9"/>
            <p:cNvSpPr>
              <a:spLocks noChangeAspect="1"/>
            </p:cNvSpPr>
            <p:nvPr/>
          </p:nvSpPr>
          <p:spPr>
            <a:xfrm rot="18875660">
              <a:off x="898137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8" name="Parallelogram 9"/>
            <p:cNvSpPr>
              <a:spLocks noChangeAspect="1"/>
            </p:cNvSpPr>
            <p:nvPr/>
          </p:nvSpPr>
          <p:spPr>
            <a:xfrm rot="18875660">
              <a:off x="914021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19" name="Parallelogram 9"/>
            <p:cNvSpPr>
              <a:spLocks noChangeAspect="1"/>
            </p:cNvSpPr>
            <p:nvPr/>
          </p:nvSpPr>
          <p:spPr>
            <a:xfrm rot="18875660">
              <a:off x="929904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0" name="Parallelogram 9"/>
            <p:cNvSpPr>
              <a:spLocks noChangeAspect="1"/>
            </p:cNvSpPr>
            <p:nvPr/>
          </p:nvSpPr>
          <p:spPr>
            <a:xfrm rot="18875660">
              <a:off x="945787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1" name="Parallelogram 9"/>
            <p:cNvSpPr>
              <a:spLocks noChangeAspect="1"/>
            </p:cNvSpPr>
            <p:nvPr/>
          </p:nvSpPr>
          <p:spPr>
            <a:xfrm rot="18875660">
              <a:off x="794897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2" name="Parallelogram 9"/>
            <p:cNvSpPr>
              <a:spLocks noChangeAspect="1"/>
            </p:cNvSpPr>
            <p:nvPr/>
          </p:nvSpPr>
          <p:spPr>
            <a:xfrm rot="18875660">
              <a:off x="810780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3" name="Parallelogram 9"/>
            <p:cNvSpPr>
              <a:spLocks noChangeAspect="1"/>
            </p:cNvSpPr>
            <p:nvPr/>
          </p:nvSpPr>
          <p:spPr>
            <a:xfrm rot="18875660">
              <a:off x="826663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4" name="Parallelogram 9"/>
            <p:cNvSpPr>
              <a:spLocks noChangeAspect="1"/>
            </p:cNvSpPr>
            <p:nvPr/>
          </p:nvSpPr>
          <p:spPr>
            <a:xfrm rot="18875660">
              <a:off x="842546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5" name="Parallelogram 9"/>
            <p:cNvSpPr>
              <a:spLocks noChangeAspect="1"/>
            </p:cNvSpPr>
            <p:nvPr/>
          </p:nvSpPr>
          <p:spPr>
            <a:xfrm rot="18875660">
              <a:off x="858429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6" name="Parallelogram 9"/>
            <p:cNvSpPr>
              <a:spLocks noChangeAspect="1"/>
            </p:cNvSpPr>
            <p:nvPr/>
          </p:nvSpPr>
          <p:spPr>
            <a:xfrm rot="18875660">
              <a:off x="7869555"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7" name="Parallelogram 9"/>
            <p:cNvSpPr>
              <a:spLocks noChangeAspect="1"/>
            </p:cNvSpPr>
            <p:nvPr/>
          </p:nvSpPr>
          <p:spPr>
            <a:xfrm rot="18875660">
              <a:off x="8028387"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8" name="Parallelogram 9"/>
            <p:cNvSpPr>
              <a:spLocks noChangeAspect="1"/>
            </p:cNvSpPr>
            <p:nvPr/>
          </p:nvSpPr>
          <p:spPr>
            <a:xfrm rot="18875660">
              <a:off x="8187219"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29" name="Parallelogram 9"/>
            <p:cNvSpPr>
              <a:spLocks noChangeAspect="1"/>
            </p:cNvSpPr>
            <p:nvPr/>
          </p:nvSpPr>
          <p:spPr>
            <a:xfrm rot="18875660">
              <a:off x="8346051"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30" name="Parallelogram 9"/>
            <p:cNvSpPr>
              <a:spLocks noChangeAspect="1"/>
            </p:cNvSpPr>
            <p:nvPr/>
          </p:nvSpPr>
          <p:spPr>
            <a:xfrm rot="18875660">
              <a:off x="8504883" y="5438421"/>
              <a:ext cx="216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grpSp>
      <p:sp>
        <p:nvSpPr>
          <p:cNvPr id="7" name="Title 6"/>
          <p:cNvSpPr>
            <a:spLocks noGrp="1"/>
          </p:cNvSpPr>
          <p:nvPr>
            <p:ph type="title"/>
          </p:nvPr>
        </p:nvSpPr>
        <p:spPr>
          <a:xfrm>
            <a:off x="630000" y="622800"/>
            <a:ext cx="8647200" cy="332399"/>
          </a:xfrm>
        </p:spPr>
        <p:txBody>
          <a:bodyPr vert="horz" wrap="square" lIns="0" tIns="0" rIns="0" bIns="0" rtlCol="0" anchor="t">
            <a:spAutoFit/>
          </a:bodyPr>
          <a:lstStyle/>
          <a:p>
            <a:r>
              <a:rPr lang="en-US" altLang="ja-JP" sz="2400" b="1" dirty="0">
                <a:solidFill>
                  <a:schemeClr val="accent6"/>
                </a:solidFill>
                <a:latin typeface="Century Gothic" panose="020B0502020202020204" pitchFamily="34" charset="0"/>
              </a:rPr>
              <a:t>5</a:t>
            </a:r>
            <a:r>
              <a:rPr lang="en-US" altLang="ja-JP" sz="2400" b="1" dirty="0" smtClean="0">
                <a:solidFill>
                  <a:schemeClr val="accent6"/>
                </a:solidFill>
                <a:latin typeface="Century Gothic" panose="020B0502020202020204" pitchFamily="34" charset="0"/>
              </a:rPr>
              <a:t>. </a:t>
            </a:r>
            <a:r>
              <a:rPr lang="ja-JP" altLang="en-US" sz="2400" b="1" dirty="0" smtClean="0">
                <a:solidFill>
                  <a:schemeClr val="accent6"/>
                </a:solidFill>
                <a:latin typeface="Century Gothic" panose="020B0502020202020204" pitchFamily="34" charset="0"/>
              </a:rPr>
              <a:t>今後について</a:t>
            </a:r>
            <a:endParaRPr lang="ja-JP" altLang="en-US" sz="2400" b="1" dirty="0">
              <a:solidFill>
                <a:schemeClr val="accent6"/>
              </a:solidFill>
              <a:latin typeface="Century Gothic" panose="020B0502020202020204" pitchFamily="34" charset="0"/>
            </a:endParaRPr>
          </a:p>
        </p:txBody>
      </p:sp>
      <p:sp>
        <p:nvSpPr>
          <p:cNvPr id="59" name="Parallelogram 9"/>
          <p:cNvSpPr>
            <a:spLocks noChangeAspect="1"/>
          </p:cNvSpPr>
          <p:nvPr/>
        </p:nvSpPr>
        <p:spPr>
          <a:xfrm rot="18875660">
            <a:off x="260275" y="227459"/>
            <a:ext cx="180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0" name="Parallelogram 9"/>
          <p:cNvSpPr>
            <a:spLocks noChangeAspect="1"/>
          </p:cNvSpPr>
          <p:nvPr/>
        </p:nvSpPr>
        <p:spPr>
          <a:xfrm rot="18875660">
            <a:off x="389063" y="488032"/>
            <a:ext cx="54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62" name="Parallelogram 9"/>
          <p:cNvSpPr>
            <a:spLocks noChangeAspect="1"/>
          </p:cNvSpPr>
          <p:nvPr/>
        </p:nvSpPr>
        <p:spPr>
          <a:xfrm rot="18875660">
            <a:off x="-330207" y="684657"/>
            <a:ext cx="1080000" cy="0"/>
          </a:xfrm>
          <a:custGeom>
            <a:avLst/>
            <a:gdLst>
              <a:gd name="connsiteX0" fmla="*/ 0 w 18269830"/>
              <a:gd name="connsiteY0" fmla="*/ 4964350 h 4964350"/>
              <a:gd name="connsiteX1" fmla="*/ 4982520 w 18269830"/>
              <a:gd name="connsiteY1" fmla="*/ 0 h 4964350"/>
              <a:gd name="connsiteX2" fmla="*/ 18269830 w 18269830"/>
              <a:gd name="connsiteY2" fmla="*/ 0 h 4964350"/>
              <a:gd name="connsiteX3" fmla="*/ 13287310 w 18269830"/>
              <a:gd name="connsiteY3" fmla="*/ 4964350 h 4964350"/>
              <a:gd name="connsiteX4" fmla="*/ 0 w 18269830"/>
              <a:gd name="connsiteY4" fmla="*/ 4964350 h 4964350"/>
              <a:gd name="connsiteX0" fmla="*/ 18269830 w 18361270"/>
              <a:gd name="connsiteY0" fmla="*/ 0 h 4964350"/>
              <a:gd name="connsiteX1" fmla="*/ 13287310 w 18361270"/>
              <a:gd name="connsiteY1" fmla="*/ 4964350 h 4964350"/>
              <a:gd name="connsiteX2" fmla="*/ 0 w 18361270"/>
              <a:gd name="connsiteY2" fmla="*/ 4964350 h 4964350"/>
              <a:gd name="connsiteX3" fmla="*/ 4982520 w 18361270"/>
              <a:gd name="connsiteY3" fmla="*/ 0 h 4964350"/>
              <a:gd name="connsiteX4" fmla="*/ 18361270 w 18361270"/>
              <a:gd name="connsiteY4" fmla="*/ 91440 h 4964350"/>
              <a:gd name="connsiteX0" fmla="*/ 18269830 w 18269830"/>
              <a:gd name="connsiteY0" fmla="*/ 0 h 4964350"/>
              <a:gd name="connsiteX1" fmla="*/ 13287310 w 18269830"/>
              <a:gd name="connsiteY1" fmla="*/ 4964350 h 4964350"/>
              <a:gd name="connsiteX2" fmla="*/ 0 w 18269830"/>
              <a:gd name="connsiteY2" fmla="*/ 4964350 h 4964350"/>
              <a:gd name="connsiteX3" fmla="*/ 4982520 w 18269830"/>
              <a:gd name="connsiteY3" fmla="*/ 0 h 4964350"/>
              <a:gd name="connsiteX0" fmla="*/ 13287310 w 13287310"/>
              <a:gd name="connsiteY0" fmla="*/ 4964350 h 4964350"/>
              <a:gd name="connsiteX1" fmla="*/ 0 w 13287310"/>
              <a:gd name="connsiteY1" fmla="*/ 4964350 h 4964350"/>
              <a:gd name="connsiteX2" fmla="*/ 4982520 w 13287310"/>
              <a:gd name="connsiteY2" fmla="*/ 0 h 4964350"/>
              <a:gd name="connsiteX0" fmla="*/ 13287310 w 13287310"/>
              <a:gd name="connsiteY0" fmla="*/ 0 h 0"/>
              <a:gd name="connsiteX1" fmla="*/ 0 w 13287310"/>
              <a:gd name="connsiteY1" fmla="*/ 0 h 0"/>
            </a:gdLst>
            <a:ahLst/>
            <a:cxnLst>
              <a:cxn ang="0">
                <a:pos x="connsiteX0" y="connsiteY0"/>
              </a:cxn>
              <a:cxn ang="0">
                <a:pos x="connsiteX1" y="connsiteY1"/>
              </a:cxn>
            </a:cxnLst>
            <a:rect l="l" t="t" r="r" b="b"/>
            <a:pathLst>
              <a:path w="13287310">
                <a:moveTo>
                  <a:pt x="13287310" y="0"/>
                </a:moveTo>
                <a:lnTo>
                  <a:pt x="0" y="0"/>
                </a:lnTo>
              </a:path>
            </a:pathLst>
          </a:custGeom>
          <a:noFill/>
          <a:ln w="6350" cap="rnd" cmpd="sng" algn="ctr">
            <a:solidFill>
              <a:srgbClr val="4C71A0">
                <a:alpha val="34000"/>
              </a:srgb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sp>
        <p:nvSpPr>
          <p:cNvPr id="56" name="Isosceles Triangle 55"/>
          <p:cNvSpPr>
            <a:spLocks/>
          </p:cNvSpPr>
          <p:nvPr/>
        </p:nvSpPr>
        <p:spPr>
          <a:xfrm rot="10800000" flipH="1" flipV="1">
            <a:off x="9546671" y="6498149"/>
            <a:ext cx="359329" cy="359850"/>
          </a:xfrm>
          <a:prstGeom prst="triangle">
            <a:avLst>
              <a:gd name="adj" fmla="val 100000"/>
            </a:avLst>
          </a:prstGeom>
          <a:solidFill>
            <a:srgbClr val="30C1D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latin typeface="Calibri" panose="020F0502020204030204" pitchFamily="34" charset="0"/>
              <a:cs typeface="Calibri" panose="020F0502020204030204" pitchFamily="34" charset="0"/>
            </a:endParaRPr>
          </a:p>
        </p:txBody>
      </p:sp>
      <p:sp>
        <p:nvSpPr>
          <p:cNvPr id="52" name="Rectangle 45"/>
          <p:cNvSpPr/>
          <p:nvPr/>
        </p:nvSpPr>
        <p:spPr>
          <a:xfrm>
            <a:off x="527074" y="1396223"/>
            <a:ext cx="8851850" cy="4984408"/>
          </a:xfrm>
          <a:prstGeom prst="rect">
            <a:avLst/>
          </a:prstGeom>
          <a:noFill/>
          <a:ln w="9525" cap="rnd" cmpd="sng" algn="ctr">
            <a:solidFill>
              <a:srgbClr val="9A9A9A"/>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kumimoji="1" lang="en-US" sz="1000" dirty="0" err="1">
              <a:solidFill>
                <a:srgbClr val="575757"/>
              </a:solidFill>
              <a:latin typeface="Meiryo UI" panose="020B0604030504040204" pitchFamily="50" charset="-128"/>
              <a:ea typeface="Meiryo UI" panose="020B0604030504040204" pitchFamily="50" charset="-128"/>
            </a:endParaRPr>
          </a:p>
        </p:txBody>
      </p:sp>
      <p:sp>
        <p:nvSpPr>
          <p:cNvPr id="77" name="テキスト ボックス 76">
            <a:extLst>
              <a:ext uri="{FF2B5EF4-FFF2-40B4-BE49-F238E27FC236}">
                <a16:creationId xmlns:a16="http://schemas.microsoft.com/office/drawing/2014/main" xmlns="" id="{33CFDC96-FC76-7D47-816C-45F1C0C8E8D0}"/>
              </a:ext>
            </a:extLst>
          </p:cNvPr>
          <p:cNvSpPr txBox="1"/>
          <p:nvPr/>
        </p:nvSpPr>
        <p:spPr>
          <a:xfrm>
            <a:off x="630000" y="1483077"/>
            <a:ext cx="5784090" cy="515727"/>
          </a:xfrm>
          <a:prstGeom prst="rect">
            <a:avLst/>
          </a:prstGeom>
          <a:noFill/>
          <a:ln cap="rnd">
            <a:noFill/>
            <a:prstDash val="solid"/>
          </a:ln>
        </p:spPr>
        <p:txBody>
          <a:bodyPr wrap="none" lIns="0" tIns="0" rIns="0" bIns="0" rtlCol="0" anchor="t" anchorCtr="0">
            <a:noAutofit/>
          </a:bodyPr>
          <a:lstStyle/>
          <a:p>
            <a:pPr marL="285750" indent="-285750">
              <a:buFont typeface="Arial" charset="0"/>
              <a:buChar char="•"/>
            </a:pPr>
            <a:r>
              <a:rPr kumimoji="1" lang="ja-JP" altLang="en-US" sz="1600" dirty="0" smtClean="0"/>
              <a:t>課題１＆２の各コースについては、</a:t>
            </a:r>
            <a:r>
              <a:rPr kumimoji="1" lang="en-US" altLang="ja-JP" sz="1600" dirty="0" smtClean="0"/>
              <a:t>P3</a:t>
            </a:r>
            <a:r>
              <a:rPr kumimoji="1" lang="ja-JP" altLang="en-US" sz="1600" dirty="0" smtClean="0"/>
              <a:t>の方針でとりあえずクリア予定</a:t>
            </a:r>
            <a:endParaRPr kumimoji="1" lang="en-US" altLang="ja-JP" sz="1600" dirty="0" smtClean="0"/>
          </a:p>
          <a:p>
            <a:pPr marL="285750" indent="-285750">
              <a:buFont typeface="Arial" charset="0"/>
              <a:buChar char="•"/>
            </a:pPr>
            <a:r>
              <a:rPr kumimoji="1" lang="ja-JP" altLang="en-US" sz="1600" dirty="0" smtClean="0"/>
              <a:t>課題３については、課題１＆２のモデルをアンサンブル学習させて対応予定</a:t>
            </a:r>
            <a:endParaRPr kumimoji="1" lang="en-US" altLang="ja-JP" sz="1600" dirty="0" smtClean="0"/>
          </a:p>
          <a:p>
            <a:pPr marL="285750" indent="-285750">
              <a:buFont typeface="Arial" charset="0"/>
              <a:buChar char="•"/>
            </a:pPr>
            <a:r>
              <a:rPr kumimoji="1" lang="ja-JP" altLang="en-US" sz="1600" dirty="0" smtClean="0"/>
              <a:t>課題４については、学習データの輝度をランダム変換させてやることで対応予定</a:t>
            </a:r>
            <a:endParaRPr kumimoji="1" lang="en-US" altLang="ja-JP" sz="1600" dirty="0" smtClean="0"/>
          </a:p>
          <a:p>
            <a:pPr marL="285750" indent="-285750">
              <a:buFont typeface="Arial" charset="0"/>
              <a:buChar char="•"/>
            </a:pPr>
            <a:endParaRPr kumimoji="1" lang="en-US" altLang="ja-JP" sz="1600" dirty="0"/>
          </a:p>
          <a:p>
            <a:pPr marL="285750" indent="-285750">
              <a:buFont typeface="Arial" charset="0"/>
              <a:buChar char="•"/>
            </a:pPr>
            <a:r>
              <a:rPr kumimoji="1" lang="ja-JP" altLang="en-US" sz="1600" dirty="0" smtClean="0"/>
              <a:t>その他</a:t>
            </a:r>
            <a:endParaRPr kumimoji="1" lang="en-US" altLang="ja-JP" sz="1600" dirty="0" smtClean="0"/>
          </a:p>
          <a:p>
            <a:pPr marL="742950" lvl="1" indent="-285750">
              <a:buFont typeface="Arial" charset="0"/>
              <a:buChar char="•"/>
            </a:pPr>
            <a:r>
              <a:rPr kumimoji="1" lang="ja-JP" altLang="en-US" sz="1600" dirty="0" smtClean="0"/>
              <a:t>あるコースで学んだモデルを転移学習すれば、モデル作成のスピードを上げられると</a:t>
            </a:r>
            <a:r>
              <a:rPr kumimoji="1" lang="en-US" altLang="ja-JP" sz="1600" dirty="0" smtClean="0"/>
              <a:t/>
            </a:r>
            <a:br>
              <a:rPr kumimoji="1" lang="en-US" altLang="ja-JP" sz="1600" dirty="0" smtClean="0"/>
            </a:br>
            <a:r>
              <a:rPr kumimoji="1" lang="ja-JP" altLang="en-US" sz="1600" dirty="0" smtClean="0"/>
              <a:t>思ったが、思ったよりも効果が見込めなかった。やり方がよくないのか</a:t>
            </a:r>
            <a:r>
              <a:rPr kumimoji="1" lang="en-US" altLang="ja-JP" sz="1600" dirty="0" smtClean="0"/>
              <a:t>…</a:t>
            </a:r>
            <a:br>
              <a:rPr kumimoji="1" lang="en-US" altLang="ja-JP" sz="1600" dirty="0" smtClean="0"/>
            </a:br>
            <a:endParaRPr kumimoji="1" lang="en-US" altLang="ja-JP" sz="1600" dirty="0" smtClean="0"/>
          </a:p>
        </p:txBody>
      </p:sp>
    </p:spTree>
    <p:extLst>
      <p:ext uri="{BB962C8B-B14F-4D97-AF65-F5344CB8AC3E}">
        <p14:creationId xmlns:p14="http://schemas.microsoft.com/office/powerpoint/2010/main" val="1327616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STYLE_ID" val="0fbcd015-fbac-494c-bcad-77fcf24a62f5"/>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uHFW_x1R9yF1uU13A9W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uHFW_x1R9yF1uU13A9WX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uHFW_x1R9yF1uU13A9WX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QuHFW_x1R9yF1uU13A9WX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uHFW_x1R9yF1uU13A9WX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uHFW_x1R9yF1uU13A9WXQ"/>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oSjUt4URui42CuF7MCwkw"/>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hTYjihTSPWhnp0te2MqqQ"/>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6/358.4865/68.59843/68.69473"/>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7/358.4865/103.4646/103.36"/>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3/71.99992/272.965/275.1478"/>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36/210.082/640.5827/252.0493"/>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36/114.7876/72.21693/72.28346"/>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71/730.5/0"/>
</p:tagLst>
</file>

<file path=ppt/tags/tag7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37/566.1416/37.07858"/>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4/358.4865/68.59843/68.69473"/>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5/358.4865/103.4646/103.36"/>
</p:tagLst>
</file>

<file path=ppt/tags/tag8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06/71.99992/272.965/275.1478"/>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12/210.082/640.5827/252.0493"/>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12/114.7876/72.21693/72.28346"/>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55/730.5/0"/>
</p:tagLst>
</file>

<file path=ppt/tags/tag9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29/566.1416/37.07858"/>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A4">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tlCol="0" anchor="ctr" anchorCtr="0"/>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cap="rnd">
          <a:noFill/>
          <a:prstDash val="solid"/>
        </a:ln>
      </a:spPr>
      <a:bodyPr wrap="none" lIns="0" tIns="0" rIns="0" bIns="0" rtlCol="0" anchor="ctr" anchorCtr="0">
        <a:noAutofit/>
      </a:bodyPr>
      <a:lstStyle>
        <a:defPPr algn="ctr">
          <a:defRPr sz="12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A4.potx" id="{FD128D5F-54C9-4660-96FD-399E95DF928D}" vid="{7EF5A221-22E9-434F-9846-7D43FE1E807C}"/>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310</TotalTime>
  <Words>281</Words>
  <Application>Microsoft Macintosh PowerPoint</Application>
  <PresentationFormat>A4 210x297 mm</PresentationFormat>
  <Paragraphs>52</Paragraphs>
  <Slides>7</Slides>
  <Notes>6</Notes>
  <HiddenSlides>0</HiddenSlides>
  <MMClips>0</MMClips>
  <ScaleCrop>false</ScaleCrop>
  <HeadingPairs>
    <vt:vector size="10"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ariant>
        <vt:lpstr>目的別スライド ショー</vt:lpstr>
      </vt:variant>
      <vt:variant>
        <vt:i4>1</vt:i4>
      </vt:variant>
    </vt:vector>
  </HeadingPairs>
  <TitlesOfParts>
    <vt:vector size="15" baseType="lpstr">
      <vt:lpstr>Calibri</vt:lpstr>
      <vt:lpstr>Century Gothic</vt:lpstr>
      <vt:lpstr>Meiryo UI</vt:lpstr>
      <vt:lpstr>Trebuchet MS</vt:lpstr>
      <vt:lpstr>Arial</vt:lpstr>
      <vt:lpstr>BCG Grid A4</vt:lpstr>
      <vt:lpstr>think-cell Slide</vt:lpstr>
      <vt:lpstr>PBL08 中間報告</vt:lpstr>
      <vt:lpstr>目次</vt:lpstr>
      <vt:lpstr>1. サマリ</vt:lpstr>
      <vt:lpstr>2. 課題への取り組み</vt:lpstr>
      <vt:lpstr>3. モデルの学習</vt:lpstr>
      <vt:lpstr>4.  自動運転について</vt:lpstr>
      <vt:lpstr>5. 今後について</vt:lpstr>
      <vt:lpstr>Format Guide Workshop</vt:lpstr>
    </vt:vector>
  </TitlesOfParts>
  <Company>The Boston Consulting Group</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石岡　諒汰</cp:lastModifiedBy>
  <cp:revision>333</cp:revision>
  <cp:lastPrinted>2019-10-23T08:59:40Z</cp:lastPrinted>
  <dcterms:created xsi:type="dcterms:W3CDTF">2019-07-18T04:04:16Z</dcterms:created>
  <dcterms:modified xsi:type="dcterms:W3CDTF">2020-01-03T15:5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6698237</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ies>
</file>